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diagrams/colors1.xml" ContentType="application/vnd.openxmlformats-officedocument.drawingml.diagramColors+xml"/>
  <Override PartName="/ppt/diagrams/drawing2.xml" ContentType="application/vnd.ms-office.drawingml.diagramDrawing+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diagrams/quickStyle2.xml" ContentType="application/vnd.openxmlformats-officedocument.drawingml.diagramStyle+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wmf" ContentType="image/x-wmf"/>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commentAuthors.xml" ContentType="application/vnd.openxmlformats-officedocument.presentationml.commentAuthors+xml"/>
  <Override PartName="/ppt/tags/tag14.xml" ContentType="application/vnd.openxmlformats-officedocument.presentationml.tags+xml"/>
  <Override PartName="/ppt/diagrams/layout3.xml" ContentType="application/vnd.openxmlformats-officedocument.drawingml.diagramLayout+xml"/>
  <Override PartName="/ppt/tags/tag12.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notesSlides/notesSlide7.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diagrams/data1.xml" ContentType="application/vnd.openxmlformats-officedocument.drawingml.diagramData+xml"/>
  <Override PartName="/ppt/notesSlides/notesSlide4.xml" ContentType="application/vnd.openxmlformats-officedocument.presentationml.notesSlide+xml"/>
  <Override PartName="/ppt/diagrams/colors3.xml" ContentType="application/vnd.openxmlformats-officedocument.drawingml.diagramColors+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tags/tag7.xml" ContentType="application/vnd.openxmlformats-officedocument.presentationml.tags+xml"/>
  <Override PartName="/ppt/notesSlides/notesSlide1.xml" ContentType="application/vnd.openxmlformats-officedocument.presentationml.notesSlide+xml"/>
  <Override PartName="/ppt/diagrams/colors2.xml" ContentType="application/vnd.openxmlformats-officedocument.drawingml.diagramColors+xml"/>
  <Override PartName="/ppt/notesSlides/notesSlide3.xml" ContentType="application/vnd.openxmlformats-officedocument.presentationml.notesSlide+xml"/>
  <Override PartName="/ppt/diagrams/drawing3.xml" ContentType="application/vnd.ms-office.drawingml.diagramDrawing+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diagrams/drawing1.xml" ContentType="application/vnd.ms-office.drawingml.diagramDrawing+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Default Extension="jpeg" ContentType="image/jpeg"/>
  <Override PartName="/ppt/diagrams/quickStyle1.xml" ContentType="application/vnd.openxmlformats-officedocument.drawingml.diagramStyle+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Default Extension="wav" ContentType="audio/wav"/>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0.xml" ContentType="application/vnd.openxmlformats-officedocument.presentationml.slideLayout+xml"/>
  <Default Extension="vml" ContentType="application/vnd.openxmlformats-officedocument.vmlDrawing"/>
  <Override PartName="/ppt/diagrams/layout2.xml" ContentType="application/vnd.openxmlformats-officedocument.drawingml.diagramLayout+xml"/>
  <Override PartName="/ppt/notesSlides/notesSlide8.xml" ContentType="application/vnd.openxmlformats-officedocument.presentationml.notesSlide+xml"/>
  <Default Extension="gif" ContentType="image/gif"/>
  <Override PartName="/ppt/tags/tag13.xml" ContentType="application/vnd.openxmlformats-officedocument.presentationml.tags+xml"/>
  <Override PartName="/ppt/diagrams/data3.xml" ContentType="application/vnd.openxmlformats-officedocument.drawingml.diagramData+xml"/>
  <Override PartName="/ppt/notesSlides/notesSlide6.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Lst>
  <p:notesMasterIdLst>
    <p:notesMasterId r:id="rId22"/>
  </p:notesMasterIdLst>
  <p:handoutMasterIdLst>
    <p:handoutMasterId r:id="rId23"/>
  </p:handoutMasterIdLst>
  <p:sldIdLst>
    <p:sldId id="298" r:id="rId2"/>
    <p:sldId id="587" r:id="rId3"/>
    <p:sldId id="599" r:id="rId4"/>
    <p:sldId id="571" r:id="rId5"/>
    <p:sldId id="608" r:id="rId6"/>
    <p:sldId id="592" r:id="rId7"/>
    <p:sldId id="610" r:id="rId8"/>
    <p:sldId id="600" r:id="rId9"/>
    <p:sldId id="609" r:id="rId10"/>
    <p:sldId id="601" r:id="rId11"/>
    <p:sldId id="589" r:id="rId12"/>
    <p:sldId id="590" r:id="rId13"/>
    <p:sldId id="603" r:id="rId14"/>
    <p:sldId id="606" r:id="rId15"/>
    <p:sldId id="604" r:id="rId16"/>
    <p:sldId id="597" r:id="rId17"/>
    <p:sldId id="574" r:id="rId18"/>
    <p:sldId id="598" r:id="rId19"/>
    <p:sldId id="602" r:id="rId20"/>
    <p:sldId id="591" r:id="rId21"/>
  </p:sldIdLst>
  <p:sldSz cx="9144000" cy="6858000" type="screen4x3"/>
  <p:notesSz cx="7315200" cy="9601200"/>
  <p:custDataLst>
    <p:tags r:id="rId24"/>
  </p:custDataLst>
  <p:defaultTextStyle>
    <a:defPPr>
      <a:defRPr lang="en-US"/>
    </a:defPPr>
    <a:lvl1pPr algn="l" rtl="0" fontAlgn="base">
      <a:spcBef>
        <a:spcPct val="50000"/>
      </a:spcBef>
      <a:spcAft>
        <a:spcPct val="0"/>
      </a:spcAft>
      <a:defRPr sz="2800" kern="1200">
        <a:solidFill>
          <a:schemeClr val="tx1"/>
        </a:solidFill>
        <a:latin typeface="Arial" charset="0"/>
        <a:ea typeface="Arial Unicode MS" pitchFamily="34" charset="-128"/>
        <a:cs typeface="Arial Unicode MS" pitchFamily="34" charset="-128"/>
      </a:defRPr>
    </a:lvl1pPr>
    <a:lvl2pPr marL="457200" algn="l" rtl="0" fontAlgn="base">
      <a:spcBef>
        <a:spcPct val="50000"/>
      </a:spcBef>
      <a:spcAft>
        <a:spcPct val="0"/>
      </a:spcAft>
      <a:defRPr sz="2800" kern="1200">
        <a:solidFill>
          <a:schemeClr val="tx1"/>
        </a:solidFill>
        <a:latin typeface="Arial" charset="0"/>
        <a:ea typeface="Arial Unicode MS" pitchFamily="34" charset="-128"/>
        <a:cs typeface="Arial Unicode MS" pitchFamily="34" charset="-128"/>
      </a:defRPr>
    </a:lvl2pPr>
    <a:lvl3pPr marL="914400" algn="l" rtl="0" fontAlgn="base">
      <a:spcBef>
        <a:spcPct val="50000"/>
      </a:spcBef>
      <a:spcAft>
        <a:spcPct val="0"/>
      </a:spcAft>
      <a:defRPr sz="2800" kern="1200">
        <a:solidFill>
          <a:schemeClr val="tx1"/>
        </a:solidFill>
        <a:latin typeface="Arial" charset="0"/>
        <a:ea typeface="Arial Unicode MS" pitchFamily="34" charset="-128"/>
        <a:cs typeface="Arial Unicode MS" pitchFamily="34" charset="-128"/>
      </a:defRPr>
    </a:lvl3pPr>
    <a:lvl4pPr marL="1371600" algn="l" rtl="0" fontAlgn="base">
      <a:spcBef>
        <a:spcPct val="50000"/>
      </a:spcBef>
      <a:spcAft>
        <a:spcPct val="0"/>
      </a:spcAft>
      <a:defRPr sz="2800" kern="1200">
        <a:solidFill>
          <a:schemeClr val="tx1"/>
        </a:solidFill>
        <a:latin typeface="Arial" charset="0"/>
        <a:ea typeface="Arial Unicode MS" pitchFamily="34" charset="-128"/>
        <a:cs typeface="Arial Unicode MS" pitchFamily="34" charset="-128"/>
      </a:defRPr>
    </a:lvl4pPr>
    <a:lvl5pPr marL="1828800" algn="l" rtl="0" fontAlgn="base">
      <a:spcBef>
        <a:spcPct val="50000"/>
      </a:spcBef>
      <a:spcAft>
        <a:spcPct val="0"/>
      </a:spcAft>
      <a:defRPr sz="28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8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8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8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800" kern="1200">
        <a:solidFill>
          <a:schemeClr val="tx1"/>
        </a:solidFill>
        <a:latin typeface="Arial" charset="0"/>
        <a:ea typeface="Arial Unicode MS" pitchFamily="34" charset="-128"/>
        <a:cs typeface="Arial Unicode MS" pitchFamily="34" charset="-128"/>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ureen Johnson" initials="mj" lastIdx="19" clrIdx="0"/>
  <p:cmAuthor id="1" name="David Lorber" initials="DAL" lastIdx="9" clrIdx="1"/>
  <p:cmAuthor id="2" name="Dolores Jacinto" initials="DJ" lastIdx="3" clrIdx="2"/>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5B97B1"/>
    <a:srgbClr val="FFCCFF"/>
    <a:srgbClr val="808080"/>
    <a:srgbClr val="FFFFCC"/>
    <a:srgbClr val="FFFF00"/>
    <a:srgbClr val="800000"/>
    <a:srgbClr val="660066"/>
    <a:srgbClr val="336600"/>
    <a:srgbClr val="FFFF66"/>
    <a:srgbClr val="6E96D5"/>
  </p:clrMru>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71" autoAdjust="0"/>
    <p:restoredTop sz="94356" autoAdjust="0"/>
  </p:normalViewPr>
  <p:slideViewPr>
    <p:cSldViewPr snapToGrid="0" showGuides="1">
      <p:cViewPr varScale="1">
        <p:scale>
          <a:sx n="83" d="100"/>
          <a:sy n="83" d="100"/>
        </p:scale>
        <p:origin x="-149" y="-77"/>
      </p:cViewPr>
      <p:guideLst>
        <p:guide orient="horz"/>
        <p:guide/>
      </p:guideLst>
    </p:cSldViewPr>
  </p:slideViewPr>
  <p:outlineViewPr>
    <p:cViewPr>
      <p:scale>
        <a:sx n="25" d="100"/>
        <a:sy n="25" d="100"/>
      </p:scale>
      <p:origin x="0" y="0"/>
    </p:cViewPr>
    <p:sldLst>
      <p:sld r:id="rId1" collapse="1"/>
      <p:sld r:id="rId2" collapse="1"/>
    </p:sldLst>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p:scale>
          <a:sx n="100" d="100"/>
          <a:sy n="100" d="100"/>
        </p:scale>
        <p:origin x="-720" y="1171"/>
      </p:cViewPr>
      <p:guideLst>
        <p:guide orient="horz" pos="3024"/>
        <p:guide pos="2304"/>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viewProps" Target="viewProps.xml"/></Relationships>
</file>

<file path=ppt/_rels/viewProps.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slide" Target="slides/slide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BFB7B55-CA2C-49B0-860D-EA991341AC5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3321170-678A-49D8-B416-82D2F52FE1A0}">
      <dgm:prSet phldrT="[Text]" custT="1"/>
      <dgm:spPr/>
      <dgm:t>
        <a:bodyPr/>
        <a:lstStyle/>
        <a:p>
          <a:r>
            <a:rPr lang="en-US" sz="1800" b="1" dirty="0" smtClean="0"/>
            <a:t>Drivers</a:t>
          </a:r>
          <a:endParaRPr lang="en-US" sz="1800" b="1" dirty="0"/>
        </a:p>
      </dgm:t>
    </dgm:pt>
    <dgm:pt modelId="{C9943AF3-6057-4921-A9C1-276CF1655551}" type="parTrans" cxnId="{ACC8C247-2418-4DF4-95B5-8CD1AC48ABC9}">
      <dgm:prSet/>
      <dgm:spPr/>
      <dgm:t>
        <a:bodyPr/>
        <a:lstStyle/>
        <a:p>
          <a:endParaRPr lang="en-US"/>
        </a:p>
      </dgm:t>
    </dgm:pt>
    <dgm:pt modelId="{60ED23B1-F472-4909-909D-011D5B692EFC}" type="sibTrans" cxnId="{ACC8C247-2418-4DF4-95B5-8CD1AC48ABC9}">
      <dgm:prSet/>
      <dgm:spPr/>
      <dgm:t>
        <a:bodyPr/>
        <a:lstStyle/>
        <a:p>
          <a:endParaRPr lang="en-US"/>
        </a:p>
      </dgm:t>
    </dgm:pt>
    <dgm:pt modelId="{239C2DB0-9A39-4734-82AA-D9D1AE4DDE68}">
      <dgm:prSet phldrT="[Text]" custT="1"/>
      <dgm:spPr/>
      <dgm:t>
        <a:bodyPr/>
        <a:lstStyle/>
        <a:p>
          <a:r>
            <a:rPr lang="en-US" sz="1600" dirty="0" smtClean="0"/>
            <a:t>Student-centric service model</a:t>
          </a:r>
          <a:endParaRPr lang="en-US" sz="1600" dirty="0"/>
        </a:p>
      </dgm:t>
    </dgm:pt>
    <dgm:pt modelId="{3F8C0967-F205-4CD0-904E-E4D135A1AFE2}" type="parTrans" cxnId="{FD38241B-1436-42D1-BB75-62F54246F0C5}">
      <dgm:prSet/>
      <dgm:spPr/>
      <dgm:t>
        <a:bodyPr/>
        <a:lstStyle/>
        <a:p>
          <a:endParaRPr lang="en-US"/>
        </a:p>
      </dgm:t>
    </dgm:pt>
    <dgm:pt modelId="{A0970F3D-31A8-4940-8DE3-B994D76EA9F6}" type="sibTrans" cxnId="{FD38241B-1436-42D1-BB75-62F54246F0C5}">
      <dgm:prSet/>
      <dgm:spPr/>
      <dgm:t>
        <a:bodyPr/>
        <a:lstStyle/>
        <a:p>
          <a:endParaRPr lang="en-US"/>
        </a:p>
      </dgm:t>
    </dgm:pt>
    <dgm:pt modelId="{0E6569FF-00A1-420B-B8CD-650CEA57FD7B}">
      <dgm:prSet phldrT="[Text]" custT="1"/>
      <dgm:spPr/>
      <dgm:t>
        <a:bodyPr/>
        <a:lstStyle/>
        <a:p>
          <a:r>
            <a:rPr lang="en-US" sz="1800" b="1" dirty="0" smtClean="0"/>
            <a:t>ERP Delivers</a:t>
          </a:r>
          <a:endParaRPr lang="en-US" sz="1800" b="1" dirty="0"/>
        </a:p>
      </dgm:t>
    </dgm:pt>
    <dgm:pt modelId="{F9F345B7-F267-4BCF-8439-450C34FAEE30}" type="parTrans" cxnId="{E6E42880-784E-403C-95F0-C60D457A6417}">
      <dgm:prSet/>
      <dgm:spPr/>
      <dgm:t>
        <a:bodyPr/>
        <a:lstStyle/>
        <a:p>
          <a:endParaRPr lang="en-US"/>
        </a:p>
      </dgm:t>
    </dgm:pt>
    <dgm:pt modelId="{B88FC52E-43F6-4B73-901F-D84E0D3E7497}" type="sibTrans" cxnId="{E6E42880-784E-403C-95F0-C60D457A6417}">
      <dgm:prSet/>
      <dgm:spPr/>
      <dgm:t>
        <a:bodyPr/>
        <a:lstStyle/>
        <a:p>
          <a:endParaRPr lang="en-US"/>
        </a:p>
      </dgm:t>
    </dgm:pt>
    <dgm:pt modelId="{E64FE688-6877-41DE-82C9-B7D895EA6BF8}">
      <dgm:prSet phldrT="[Text]" custT="1"/>
      <dgm:spPr/>
      <dgm:t>
        <a:bodyPr/>
        <a:lstStyle/>
        <a:p>
          <a:r>
            <a:rPr lang="en-US" sz="1600" dirty="0" smtClean="0"/>
            <a:t>Enhanced Student Service</a:t>
          </a:r>
          <a:endParaRPr lang="en-US" sz="1600" dirty="0"/>
        </a:p>
      </dgm:t>
    </dgm:pt>
    <dgm:pt modelId="{B5AB35FD-E858-4F59-9095-66B631BA5122}" type="parTrans" cxnId="{09E13818-104F-4A8F-9516-F92EB1995788}">
      <dgm:prSet/>
      <dgm:spPr/>
      <dgm:t>
        <a:bodyPr/>
        <a:lstStyle/>
        <a:p>
          <a:endParaRPr lang="en-US"/>
        </a:p>
      </dgm:t>
    </dgm:pt>
    <dgm:pt modelId="{1DEAE6AD-78C0-40FF-936C-F566F3CBA658}" type="sibTrans" cxnId="{09E13818-104F-4A8F-9516-F92EB1995788}">
      <dgm:prSet/>
      <dgm:spPr/>
      <dgm:t>
        <a:bodyPr/>
        <a:lstStyle/>
        <a:p>
          <a:endParaRPr lang="en-US"/>
        </a:p>
      </dgm:t>
    </dgm:pt>
    <dgm:pt modelId="{1B46D095-09E6-4547-990B-02BEE5CBC66A}">
      <dgm:prSet phldrT="[Text]" custT="1"/>
      <dgm:spPr/>
      <dgm:t>
        <a:bodyPr/>
        <a:lstStyle/>
        <a:p>
          <a:r>
            <a:rPr lang="en-US" sz="1600" dirty="0" smtClean="0"/>
            <a:t>Process Streamlining</a:t>
          </a:r>
          <a:endParaRPr lang="en-US" sz="1600" dirty="0"/>
        </a:p>
      </dgm:t>
    </dgm:pt>
    <dgm:pt modelId="{B260D53A-43EB-4F93-96E0-FC8B89CDDE6C}" type="parTrans" cxnId="{82ED8F3C-979A-4DCD-970F-EC7AF8204FDA}">
      <dgm:prSet/>
      <dgm:spPr/>
      <dgm:t>
        <a:bodyPr/>
        <a:lstStyle/>
        <a:p>
          <a:endParaRPr lang="en-US"/>
        </a:p>
      </dgm:t>
    </dgm:pt>
    <dgm:pt modelId="{86CD4310-46D6-450E-8067-09FFF61236BE}" type="sibTrans" cxnId="{82ED8F3C-979A-4DCD-970F-EC7AF8204FDA}">
      <dgm:prSet/>
      <dgm:spPr/>
      <dgm:t>
        <a:bodyPr/>
        <a:lstStyle/>
        <a:p>
          <a:endParaRPr lang="en-US"/>
        </a:p>
      </dgm:t>
    </dgm:pt>
    <dgm:pt modelId="{33399B5D-630D-4AF1-BD2C-850D82FCD11C}">
      <dgm:prSet phldrT="[Text]" custT="1"/>
      <dgm:spPr/>
      <dgm:t>
        <a:bodyPr/>
        <a:lstStyle/>
        <a:p>
          <a:r>
            <a:rPr lang="en-US" sz="1600" dirty="0" smtClean="0"/>
            <a:t>Compliance and Security Concerns</a:t>
          </a:r>
          <a:endParaRPr lang="en-US" sz="1600" dirty="0"/>
        </a:p>
      </dgm:t>
    </dgm:pt>
    <dgm:pt modelId="{A496190E-AC22-48F7-8DCE-0214BA865FC8}" type="parTrans" cxnId="{095310C4-04E7-4421-9D8A-BAB337176BB3}">
      <dgm:prSet/>
      <dgm:spPr/>
      <dgm:t>
        <a:bodyPr/>
        <a:lstStyle/>
        <a:p>
          <a:endParaRPr lang="en-US"/>
        </a:p>
      </dgm:t>
    </dgm:pt>
    <dgm:pt modelId="{5C863FD3-0C66-45A1-9D59-254BC7CF5952}" type="sibTrans" cxnId="{095310C4-04E7-4421-9D8A-BAB337176BB3}">
      <dgm:prSet/>
      <dgm:spPr/>
      <dgm:t>
        <a:bodyPr/>
        <a:lstStyle/>
        <a:p>
          <a:endParaRPr lang="en-US"/>
        </a:p>
      </dgm:t>
    </dgm:pt>
    <dgm:pt modelId="{DA65B543-F91D-49AC-92C6-E53A22B63FDA}">
      <dgm:prSet phldrT="[Text]" custT="1"/>
      <dgm:spPr/>
      <dgm:t>
        <a:bodyPr/>
        <a:lstStyle/>
        <a:p>
          <a:r>
            <a:rPr lang="en-US" sz="1600" dirty="0" smtClean="0"/>
            <a:t>Competitive Advantage</a:t>
          </a:r>
          <a:endParaRPr lang="en-US" sz="1600" dirty="0"/>
        </a:p>
      </dgm:t>
    </dgm:pt>
    <dgm:pt modelId="{E0815CD0-5828-49BB-BE0B-02A542D83599}" type="parTrans" cxnId="{A9EEB87C-8653-4BE2-AA15-32C317E44C35}">
      <dgm:prSet/>
      <dgm:spPr/>
      <dgm:t>
        <a:bodyPr/>
        <a:lstStyle/>
        <a:p>
          <a:endParaRPr lang="en-US"/>
        </a:p>
      </dgm:t>
    </dgm:pt>
    <dgm:pt modelId="{C6ED7962-0AE3-4700-9D7E-682352CE50D2}" type="sibTrans" cxnId="{A9EEB87C-8653-4BE2-AA15-32C317E44C35}">
      <dgm:prSet/>
      <dgm:spPr/>
      <dgm:t>
        <a:bodyPr/>
        <a:lstStyle/>
        <a:p>
          <a:endParaRPr lang="en-US"/>
        </a:p>
      </dgm:t>
    </dgm:pt>
    <dgm:pt modelId="{E38407AC-0D92-49C7-ABE7-77ACC34D2AC5}">
      <dgm:prSet phldrT="[Text]" custT="1"/>
      <dgm:spPr/>
      <dgm:t>
        <a:bodyPr/>
        <a:lstStyle/>
        <a:p>
          <a:r>
            <a:rPr lang="en-US" sz="1600" dirty="0" smtClean="0"/>
            <a:t>Consistent View of Key Data:  “Single View of the Truth”</a:t>
          </a:r>
          <a:endParaRPr lang="en-US" sz="1600" dirty="0"/>
        </a:p>
      </dgm:t>
    </dgm:pt>
    <dgm:pt modelId="{2CD1724A-49F0-4F94-B8BE-440737267C9D}" type="parTrans" cxnId="{3E5ADE23-54BB-4241-B6C2-5BEEB51D9DCC}">
      <dgm:prSet/>
      <dgm:spPr/>
      <dgm:t>
        <a:bodyPr/>
        <a:lstStyle/>
        <a:p>
          <a:endParaRPr lang="en-US"/>
        </a:p>
      </dgm:t>
    </dgm:pt>
    <dgm:pt modelId="{9050A47B-433A-4D53-B258-BE7508BE5DAF}" type="sibTrans" cxnId="{3E5ADE23-54BB-4241-B6C2-5BEEB51D9DCC}">
      <dgm:prSet/>
      <dgm:spPr/>
      <dgm:t>
        <a:bodyPr/>
        <a:lstStyle/>
        <a:p>
          <a:endParaRPr lang="en-US"/>
        </a:p>
      </dgm:t>
    </dgm:pt>
    <dgm:pt modelId="{EA955071-3D8E-4C31-AD83-16769B7F7D1B}">
      <dgm:prSet phldrT="[Text]" custT="1"/>
      <dgm:spPr/>
      <dgm:t>
        <a:bodyPr/>
        <a:lstStyle/>
        <a:p>
          <a:r>
            <a:rPr lang="en-US" sz="1600" dirty="0" smtClean="0"/>
            <a:t>Embedded ‘best practice’ business processes</a:t>
          </a:r>
          <a:endParaRPr lang="en-US" sz="1600" dirty="0"/>
        </a:p>
      </dgm:t>
    </dgm:pt>
    <dgm:pt modelId="{ECE0F203-971F-449F-99DF-E63DC9844349}" type="parTrans" cxnId="{5AC0975C-2ECD-46E8-B409-504177AF0110}">
      <dgm:prSet/>
      <dgm:spPr/>
      <dgm:t>
        <a:bodyPr/>
        <a:lstStyle/>
        <a:p>
          <a:endParaRPr lang="en-US"/>
        </a:p>
      </dgm:t>
    </dgm:pt>
    <dgm:pt modelId="{9EEE341E-ACCB-4D7D-B5F0-4AEEAC198FDC}" type="sibTrans" cxnId="{5AC0975C-2ECD-46E8-B409-504177AF0110}">
      <dgm:prSet/>
      <dgm:spPr/>
      <dgm:t>
        <a:bodyPr/>
        <a:lstStyle/>
        <a:p>
          <a:endParaRPr lang="en-US"/>
        </a:p>
      </dgm:t>
    </dgm:pt>
    <dgm:pt modelId="{527C8515-D05B-41AD-8ACA-15FACB2C9329}">
      <dgm:prSet phldrT="[Text]" custT="1"/>
      <dgm:spPr/>
      <dgm:t>
        <a:bodyPr/>
        <a:lstStyle/>
        <a:p>
          <a:r>
            <a:rPr lang="en-US" sz="1600" dirty="0" smtClean="0"/>
            <a:t>Foundational application architecture and upgrade path for future releases</a:t>
          </a:r>
          <a:endParaRPr lang="en-US" sz="1600" dirty="0"/>
        </a:p>
      </dgm:t>
    </dgm:pt>
    <dgm:pt modelId="{7632A949-9660-4790-9CFF-DD8528D391EA}" type="parTrans" cxnId="{11D45785-8380-45E7-9C3E-1E097CF81DC5}">
      <dgm:prSet/>
      <dgm:spPr/>
      <dgm:t>
        <a:bodyPr/>
        <a:lstStyle/>
        <a:p>
          <a:endParaRPr lang="en-US"/>
        </a:p>
      </dgm:t>
    </dgm:pt>
    <dgm:pt modelId="{8DF5D1C4-629E-4E0E-9820-8228C977244B}" type="sibTrans" cxnId="{11D45785-8380-45E7-9C3E-1E097CF81DC5}">
      <dgm:prSet/>
      <dgm:spPr/>
      <dgm:t>
        <a:bodyPr/>
        <a:lstStyle/>
        <a:p>
          <a:endParaRPr lang="en-US"/>
        </a:p>
      </dgm:t>
    </dgm:pt>
    <dgm:pt modelId="{36676B4F-9314-411E-9C39-BC3CD49C1249}">
      <dgm:prSet phldrT="[Text]" custT="1"/>
      <dgm:spPr/>
      <dgm:t>
        <a:bodyPr/>
        <a:lstStyle/>
        <a:p>
          <a:r>
            <a:rPr lang="en-US" sz="1800" b="1" dirty="0" smtClean="0"/>
            <a:t>Challenges</a:t>
          </a:r>
          <a:endParaRPr lang="en-US" sz="1800" b="1" dirty="0"/>
        </a:p>
      </dgm:t>
    </dgm:pt>
    <dgm:pt modelId="{759821AD-C8C3-49B0-BF30-634539C18263}" type="parTrans" cxnId="{A385FAAE-7EFC-42CC-8D73-42694F98B432}">
      <dgm:prSet/>
      <dgm:spPr/>
      <dgm:t>
        <a:bodyPr/>
        <a:lstStyle/>
        <a:p>
          <a:endParaRPr lang="en-US"/>
        </a:p>
      </dgm:t>
    </dgm:pt>
    <dgm:pt modelId="{5B7AA430-0AA9-493F-9411-9A8B77120B2F}" type="sibTrans" cxnId="{A385FAAE-7EFC-42CC-8D73-42694F98B432}">
      <dgm:prSet/>
      <dgm:spPr/>
      <dgm:t>
        <a:bodyPr/>
        <a:lstStyle/>
        <a:p>
          <a:endParaRPr lang="en-US"/>
        </a:p>
      </dgm:t>
    </dgm:pt>
    <dgm:pt modelId="{A29D01DC-9A53-4F3D-BC81-D8F3B29A2767}">
      <dgm:prSet phldrT="[Text]" custT="1"/>
      <dgm:spPr/>
      <dgm:t>
        <a:bodyPr/>
        <a:lstStyle/>
        <a:p>
          <a:r>
            <a:rPr lang="en-US" sz="1600" dirty="0" smtClean="0"/>
            <a:t>Compete View of ALL Enterprise/Organizational Data</a:t>
          </a:r>
          <a:endParaRPr lang="en-US" sz="1600" dirty="0"/>
        </a:p>
      </dgm:t>
    </dgm:pt>
    <dgm:pt modelId="{06C9D347-5C4D-44A8-9425-B6DE2A64FC7C}" type="parTrans" cxnId="{2731BC3D-E53B-43F7-9180-1B9FDA154473}">
      <dgm:prSet/>
      <dgm:spPr/>
      <dgm:t>
        <a:bodyPr/>
        <a:lstStyle/>
        <a:p>
          <a:endParaRPr lang="en-US"/>
        </a:p>
      </dgm:t>
    </dgm:pt>
    <dgm:pt modelId="{794223FF-A5C8-45DB-86F4-5419AA76DF9B}" type="sibTrans" cxnId="{2731BC3D-E53B-43F7-9180-1B9FDA154473}">
      <dgm:prSet/>
      <dgm:spPr/>
      <dgm:t>
        <a:bodyPr/>
        <a:lstStyle/>
        <a:p>
          <a:endParaRPr lang="en-US"/>
        </a:p>
      </dgm:t>
    </dgm:pt>
    <dgm:pt modelId="{76A68189-21B0-4FD1-BF40-DD5F2D0CAA52}">
      <dgm:prSet phldrT="[Text]"/>
      <dgm:spPr/>
      <dgm:t>
        <a:bodyPr/>
        <a:lstStyle/>
        <a:p>
          <a:endParaRPr lang="en-US" sz="1200" dirty="0"/>
        </a:p>
      </dgm:t>
    </dgm:pt>
    <dgm:pt modelId="{88268E0C-2667-4A36-9A0D-416C77E71B95}" type="parTrans" cxnId="{62A4F9BA-18D5-4727-95AC-EFA0F24A2D7D}">
      <dgm:prSet/>
      <dgm:spPr/>
      <dgm:t>
        <a:bodyPr/>
        <a:lstStyle/>
        <a:p>
          <a:endParaRPr lang="en-US"/>
        </a:p>
      </dgm:t>
    </dgm:pt>
    <dgm:pt modelId="{9452399C-AF28-43C6-AA1B-0C5CC4BBBEAA}" type="sibTrans" cxnId="{62A4F9BA-18D5-4727-95AC-EFA0F24A2D7D}">
      <dgm:prSet/>
      <dgm:spPr/>
      <dgm:t>
        <a:bodyPr/>
        <a:lstStyle/>
        <a:p>
          <a:endParaRPr lang="en-US"/>
        </a:p>
      </dgm:t>
    </dgm:pt>
    <dgm:pt modelId="{5ADA98CA-8D03-4174-9531-A28BD9DC1994}">
      <dgm:prSet phldrT="[Text]"/>
      <dgm:spPr/>
      <dgm:t>
        <a:bodyPr/>
        <a:lstStyle/>
        <a:p>
          <a:endParaRPr lang="en-US" sz="1200" dirty="0"/>
        </a:p>
      </dgm:t>
    </dgm:pt>
    <dgm:pt modelId="{399BD7D7-259D-405A-83B5-6534F27AB43C}" type="parTrans" cxnId="{2876D0C0-A7F8-498D-AF1C-C3B976CD4C9B}">
      <dgm:prSet/>
      <dgm:spPr/>
      <dgm:t>
        <a:bodyPr/>
        <a:lstStyle/>
        <a:p>
          <a:endParaRPr lang="en-US"/>
        </a:p>
      </dgm:t>
    </dgm:pt>
    <dgm:pt modelId="{4B261306-A178-4068-A2A8-0B0A499D108B}" type="sibTrans" cxnId="{2876D0C0-A7F8-498D-AF1C-C3B976CD4C9B}">
      <dgm:prSet/>
      <dgm:spPr/>
      <dgm:t>
        <a:bodyPr/>
        <a:lstStyle/>
        <a:p>
          <a:endParaRPr lang="en-US"/>
        </a:p>
      </dgm:t>
    </dgm:pt>
    <dgm:pt modelId="{749478D0-9522-4812-8E20-60073EFBBD0E}">
      <dgm:prSet phldrT="[Text]" custT="1"/>
      <dgm:spPr/>
      <dgm:t>
        <a:bodyPr/>
        <a:lstStyle/>
        <a:p>
          <a:r>
            <a:rPr lang="en-US" sz="1600" dirty="0" smtClean="0"/>
            <a:t>WCTC-wide Implementation and Execution of Common Processes</a:t>
          </a:r>
          <a:endParaRPr lang="en-US" sz="1600" dirty="0"/>
        </a:p>
      </dgm:t>
    </dgm:pt>
    <dgm:pt modelId="{0479B383-CFC1-42B6-8D77-32D8DEE06B19}" type="parTrans" cxnId="{6AEC9310-AF11-4109-B788-04FA4BDA7375}">
      <dgm:prSet/>
      <dgm:spPr/>
      <dgm:t>
        <a:bodyPr/>
        <a:lstStyle/>
        <a:p>
          <a:endParaRPr lang="en-US"/>
        </a:p>
      </dgm:t>
    </dgm:pt>
    <dgm:pt modelId="{0360BE02-6762-46AF-BDE1-02108DCCF370}" type="sibTrans" cxnId="{6AEC9310-AF11-4109-B788-04FA4BDA7375}">
      <dgm:prSet/>
      <dgm:spPr/>
      <dgm:t>
        <a:bodyPr/>
        <a:lstStyle/>
        <a:p>
          <a:endParaRPr lang="en-US"/>
        </a:p>
      </dgm:t>
    </dgm:pt>
    <dgm:pt modelId="{2227FAE8-FF5A-40F7-AE48-9B475E101689}">
      <dgm:prSet phldrT="[Text]" custT="1"/>
      <dgm:spPr/>
      <dgm:t>
        <a:bodyPr/>
        <a:lstStyle/>
        <a:p>
          <a:r>
            <a:rPr lang="en-US" sz="1600" dirty="0" smtClean="0"/>
            <a:t>WCTC-wide Collaboration</a:t>
          </a:r>
          <a:endParaRPr lang="en-US" sz="1600" dirty="0"/>
        </a:p>
      </dgm:t>
    </dgm:pt>
    <dgm:pt modelId="{961714C5-89AC-4A5F-BF90-FE01E9ED7969}" type="parTrans" cxnId="{3CD67DEA-9DC3-4B40-9D85-071FEC9A83DD}">
      <dgm:prSet/>
      <dgm:spPr/>
    </dgm:pt>
    <dgm:pt modelId="{75871E91-C101-4ACA-8E58-E95713991AFA}" type="sibTrans" cxnId="{3CD67DEA-9DC3-4B40-9D85-071FEC9A83DD}">
      <dgm:prSet/>
      <dgm:spPr/>
    </dgm:pt>
    <dgm:pt modelId="{9486B8A2-1F75-476C-9DBA-3953CEC2B19C}" type="pres">
      <dgm:prSet presAssocID="{DBFB7B55-CA2C-49B0-860D-EA991341AC55}" presName="linear" presStyleCnt="0">
        <dgm:presLayoutVars>
          <dgm:animLvl val="lvl"/>
          <dgm:resizeHandles val="exact"/>
        </dgm:presLayoutVars>
      </dgm:prSet>
      <dgm:spPr/>
      <dgm:t>
        <a:bodyPr/>
        <a:lstStyle/>
        <a:p>
          <a:endParaRPr lang="en-US"/>
        </a:p>
      </dgm:t>
    </dgm:pt>
    <dgm:pt modelId="{E988B636-BBA4-4808-B4F5-903A2C15065A}" type="pres">
      <dgm:prSet presAssocID="{A3321170-678A-49D8-B416-82D2F52FE1A0}" presName="parentText" presStyleLbl="node1" presStyleIdx="0" presStyleCnt="3" custLinFactNeighborX="1112" custLinFactNeighborY="-20474">
        <dgm:presLayoutVars>
          <dgm:chMax val="0"/>
          <dgm:bulletEnabled val="1"/>
        </dgm:presLayoutVars>
      </dgm:prSet>
      <dgm:spPr/>
      <dgm:t>
        <a:bodyPr/>
        <a:lstStyle/>
        <a:p>
          <a:endParaRPr lang="en-US"/>
        </a:p>
      </dgm:t>
    </dgm:pt>
    <dgm:pt modelId="{AE5942C7-F091-41E8-85B9-BB555C53DAD4}" type="pres">
      <dgm:prSet presAssocID="{A3321170-678A-49D8-B416-82D2F52FE1A0}" presName="childText" presStyleLbl="revTx" presStyleIdx="0" presStyleCnt="3">
        <dgm:presLayoutVars>
          <dgm:bulletEnabled val="1"/>
        </dgm:presLayoutVars>
      </dgm:prSet>
      <dgm:spPr/>
      <dgm:t>
        <a:bodyPr/>
        <a:lstStyle/>
        <a:p>
          <a:endParaRPr lang="en-US"/>
        </a:p>
      </dgm:t>
    </dgm:pt>
    <dgm:pt modelId="{AA87DE4E-9E86-48E7-960C-0C7097E7705D}" type="pres">
      <dgm:prSet presAssocID="{0E6569FF-00A1-420B-B8CD-650CEA57FD7B}" presName="parentText" presStyleLbl="node1" presStyleIdx="1" presStyleCnt="3">
        <dgm:presLayoutVars>
          <dgm:chMax val="0"/>
          <dgm:bulletEnabled val="1"/>
        </dgm:presLayoutVars>
      </dgm:prSet>
      <dgm:spPr/>
      <dgm:t>
        <a:bodyPr/>
        <a:lstStyle/>
        <a:p>
          <a:endParaRPr lang="en-US"/>
        </a:p>
      </dgm:t>
    </dgm:pt>
    <dgm:pt modelId="{E0EF5784-1BDD-4724-B0BF-05E5672C8F25}" type="pres">
      <dgm:prSet presAssocID="{0E6569FF-00A1-420B-B8CD-650CEA57FD7B}" presName="childText" presStyleLbl="revTx" presStyleIdx="1" presStyleCnt="3">
        <dgm:presLayoutVars>
          <dgm:bulletEnabled val="1"/>
        </dgm:presLayoutVars>
      </dgm:prSet>
      <dgm:spPr/>
      <dgm:t>
        <a:bodyPr/>
        <a:lstStyle/>
        <a:p>
          <a:endParaRPr lang="en-US"/>
        </a:p>
      </dgm:t>
    </dgm:pt>
    <dgm:pt modelId="{21012ADE-CCA6-4DDF-B810-B8CE4EA8D61B}" type="pres">
      <dgm:prSet presAssocID="{36676B4F-9314-411E-9C39-BC3CD49C1249}" presName="parentText" presStyleLbl="node1" presStyleIdx="2" presStyleCnt="3">
        <dgm:presLayoutVars>
          <dgm:chMax val="0"/>
          <dgm:bulletEnabled val="1"/>
        </dgm:presLayoutVars>
      </dgm:prSet>
      <dgm:spPr/>
      <dgm:t>
        <a:bodyPr/>
        <a:lstStyle/>
        <a:p>
          <a:endParaRPr lang="en-US"/>
        </a:p>
      </dgm:t>
    </dgm:pt>
    <dgm:pt modelId="{2EE6C19C-C33C-403B-826B-C35304D45C89}" type="pres">
      <dgm:prSet presAssocID="{36676B4F-9314-411E-9C39-BC3CD49C1249}" presName="childText" presStyleLbl="revTx" presStyleIdx="2" presStyleCnt="3">
        <dgm:presLayoutVars>
          <dgm:bulletEnabled val="1"/>
        </dgm:presLayoutVars>
      </dgm:prSet>
      <dgm:spPr/>
      <dgm:t>
        <a:bodyPr/>
        <a:lstStyle/>
        <a:p>
          <a:endParaRPr lang="en-US"/>
        </a:p>
      </dgm:t>
    </dgm:pt>
  </dgm:ptLst>
  <dgm:cxnLst>
    <dgm:cxn modelId="{2C5EB327-0C8D-41E5-938D-0E4321BA8426}" type="presOf" srcId="{0E6569FF-00A1-420B-B8CD-650CEA57FD7B}" destId="{AA87DE4E-9E86-48E7-960C-0C7097E7705D}" srcOrd="0" destOrd="0" presId="urn:microsoft.com/office/officeart/2005/8/layout/vList2"/>
    <dgm:cxn modelId="{2731BC3D-E53B-43F7-9180-1B9FDA154473}" srcId="{36676B4F-9314-411E-9C39-BC3CD49C1249}" destId="{A29D01DC-9A53-4F3D-BC81-D8F3B29A2767}" srcOrd="0" destOrd="0" parTransId="{06C9D347-5C4D-44A8-9425-B6DE2A64FC7C}" sibTransId="{794223FF-A5C8-45DB-86F4-5419AA76DF9B}"/>
    <dgm:cxn modelId="{82ED8F3C-979A-4DCD-970F-EC7AF8204FDA}" srcId="{A3321170-678A-49D8-B416-82D2F52FE1A0}" destId="{1B46D095-09E6-4547-990B-02BEE5CBC66A}" srcOrd="2" destOrd="0" parTransId="{B260D53A-43EB-4F93-96E0-FC8B89CDDE6C}" sibTransId="{86CD4310-46D6-450E-8067-09FFF61236BE}"/>
    <dgm:cxn modelId="{11D45785-8380-45E7-9C3E-1E097CF81DC5}" srcId="{0E6569FF-00A1-420B-B8CD-650CEA57FD7B}" destId="{527C8515-D05B-41AD-8ACA-15FACB2C9329}" srcOrd="3" destOrd="0" parTransId="{7632A949-9660-4790-9CFF-DD8528D391EA}" sibTransId="{8DF5D1C4-629E-4E0E-9820-8228C977244B}"/>
    <dgm:cxn modelId="{507904C9-7475-4EB5-BFD5-05D59A73AA63}" type="presOf" srcId="{239C2DB0-9A39-4734-82AA-D9D1AE4DDE68}" destId="{AE5942C7-F091-41E8-85B9-BB555C53DAD4}" srcOrd="0" destOrd="0" presId="urn:microsoft.com/office/officeart/2005/8/layout/vList2"/>
    <dgm:cxn modelId="{6AEC9310-AF11-4109-B788-04FA4BDA7375}" srcId="{36676B4F-9314-411E-9C39-BC3CD49C1249}" destId="{749478D0-9522-4812-8E20-60073EFBBD0E}" srcOrd="1" destOrd="0" parTransId="{0479B383-CFC1-42B6-8D77-32D8DEE06B19}" sibTransId="{0360BE02-6762-46AF-BDE1-02108DCCF370}"/>
    <dgm:cxn modelId="{A385FAAE-7EFC-42CC-8D73-42694F98B432}" srcId="{DBFB7B55-CA2C-49B0-860D-EA991341AC55}" destId="{36676B4F-9314-411E-9C39-BC3CD49C1249}" srcOrd="2" destOrd="0" parTransId="{759821AD-C8C3-49B0-BF30-634539C18263}" sibTransId="{5B7AA430-0AA9-493F-9411-9A8B77120B2F}"/>
    <dgm:cxn modelId="{162843EC-7EFA-4C2B-884F-FE208E88EF9F}" type="presOf" srcId="{527C8515-D05B-41AD-8ACA-15FACB2C9329}" destId="{E0EF5784-1BDD-4724-B0BF-05E5672C8F25}" srcOrd="0" destOrd="3" presId="urn:microsoft.com/office/officeart/2005/8/layout/vList2"/>
    <dgm:cxn modelId="{84B98D05-B167-431C-8309-B9DFED26EC13}" type="presOf" srcId="{EA955071-3D8E-4C31-AD83-16769B7F7D1B}" destId="{E0EF5784-1BDD-4724-B0BF-05E5672C8F25}" srcOrd="0" destOrd="2" presId="urn:microsoft.com/office/officeart/2005/8/layout/vList2"/>
    <dgm:cxn modelId="{109FC180-3A09-4EA9-97E2-084CB79A5887}" type="presOf" srcId="{36676B4F-9314-411E-9C39-BC3CD49C1249}" destId="{21012ADE-CCA6-4DDF-B810-B8CE4EA8D61B}" srcOrd="0" destOrd="0" presId="urn:microsoft.com/office/officeart/2005/8/layout/vList2"/>
    <dgm:cxn modelId="{962BFEA0-EE48-40F2-98D9-B26AE6AB69CE}" type="presOf" srcId="{76A68189-21B0-4FD1-BF40-DD5F2D0CAA52}" destId="{2EE6C19C-C33C-403B-826B-C35304D45C89}" srcOrd="0" destOrd="3" presId="urn:microsoft.com/office/officeart/2005/8/layout/vList2"/>
    <dgm:cxn modelId="{0C6493F0-799D-495F-B1B8-081E2C87C83E}" type="presOf" srcId="{E64FE688-6877-41DE-82C9-B7D895EA6BF8}" destId="{E0EF5784-1BDD-4724-B0BF-05E5672C8F25}" srcOrd="0" destOrd="0" presId="urn:microsoft.com/office/officeart/2005/8/layout/vList2"/>
    <dgm:cxn modelId="{A9EEB87C-8653-4BE2-AA15-32C317E44C35}" srcId="{A3321170-678A-49D8-B416-82D2F52FE1A0}" destId="{DA65B543-F91D-49AC-92C6-E53A22B63FDA}" srcOrd="4" destOrd="0" parTransId="{E0815CD0-5828-49BB-BE0B-02A542D83599}" sibTransId="{C6ED7962-0AE3-4700-9D7E-682352CE50D2}"/>
    <dgm:cxn modelId="{5AC0975C-2ECD-46E8-B409-504177AF0110}" srcId="{0E6569FF-00A1-420B-B8CD-650CEA57FD7B}" destId="{EA955071-3D8E-4C31-AD83-16769B7F7D1B}" srcOrd="2" destOrd="0" parTransId="{ECE0F203-971F-449F-99DF-E63DC9844349}" sibTransId="{9EEE341E-ACCB-4D7D-B5F0-4AEEAC198FDC}"/>
    <dgm:cxn modelId="{62A4F9BA-18D5-4727-95AC-EFA0F24A2D7D}" srcId="{36676B4F-9314-411E-9C39-BC3CD49C1249}" destId="{76A68189-21B0-4FD1-BF40-DD5F2D0CAA52}" srcOrd="3" destOrd="0" parTransId="{88268E0C-2667-4A36-9A0D-416C77E71B95}" sibTransId="{9452399C-AF28-43C6-AA1B-0C5CC4BBBEAA}"/>
    <dgm:cxn modelId="{0BB5AA5F-F90B-4931-800C-679614222645}" type="presOf" srcId="{DBFB7B55-CA2C-49B0-860D-EA991341AC55}" destId="{9486B8A2-1F75-476C-9DBA-3953CEC2B19C}" srcOrd="0" destOrd="0" presId="urn:microsoft.com/office/officeart/2005/8/layout/vList2"/>
    <dgm:cxn modelId="{09E13818-104F-4A8F-9516-F92EB1995788}" srcId="{0E6569FF-00A1-420B-B8CD-650CEA57FD7B}" destId="{E64FE688-6877-41DE-82C9-B7D895EA6BF8}" srcOrd="0" destOrd="0" parTransId="{B5AB35FD-E858-4F59-9095-66B631BA5122}" sibTransId="{1DEAE6AD-78C0-40FF-936C-F566F3CBA658}"/>
    <dgm:cxn modelId="{2AF3F3D5-5BE3-4C7A-82EA-6F9C2659A5D4}" type="presOf" srcId="{1B46D095-09E6-4547-990B-02BEE5CBC66A}" destId="{AE5942C7-F091-41E8-85B9-BB555C53DAD4}" srcOrd="0" destOrd="2" presId="urn:microsoft.com/office/officeart/2005/8/layout/vList2"/>
    <dgm:cxn modelId="{2D9BCC5A-8428-4232-8C9A-FCC2EB8C3469}" type="presOf" srcId="{DA65B543-F91D-49AC-92C6-E53A22B63FDA}" destId="{AE5942C7-F091-41E8-85B9-BB555C53DAD4}" srcOrd="0" destOrd="4" presId="urn:microsoft.com/office/officeart/2005/8/layout/vList2"/>
    <dgm:cxn modelId="{3CD67DEA-9DC3-4B40-9D85-071FEC9A83DD}" srcId="{A3321170-678A-49D8-B416-82D2F52FE1A0}" destId="{2227FAE8-FF5A-40F7-AE48-9B475E101689}" srcOrd="1" destOrd="0" parTransId="{961714C5-89AC-4A5F-BF90-FE01E9ED7969}" sibTransId="{75871E91-C101-4ACA-8E58-E95713991AFA}"/>
    <dgm:cxn modelId="{095310C4-04E7-4421-9D8A-BAB337176BB3}" srcId="{A3321170-678A-49D8-B416-82D2F52FE1A0}" destId="{33399B5D-630D-4AF1-BD2C-850D82FCD11C}" srcOrd="3" destOrd="0" parTransId="{A496190E-AC22-48F7-8DCE-0214BA865FC8}" sibTransId="{5C863FD3-0C66-45A1-9D59-254BC7CF5952}"/>
    <dgm:cxn modelId="{17FE53F3-70F2-4EC5-87FC-AAC8A6A1A58E}" type="presOf" srcId="{E38407AC-0D92-49C7-ABE7-77ACC34D2AC5}" destId="{E0EF5784-1BDD-4724-B0BF-05E5672C8F25}" srcOrd="0" destOrd="1" presId="urn:microsoft.com/office/officeart/2005/8/layout/vList2"/>
    <dgm:cxn modelId="{13063B5C-91AA-4666-A03F-B396341A9DC1}" type="presOf" srcId="{749478D0-9522-4812-8E20-60073EFBBD0E}" destId="{2EE6C19C-C33C-403B-826B-C35304D45C89}" srcOrd="0" destOrd="1" presId="urn:microsoft.com/office/officeart/2005/8/layout/vList2"/>
    <dgm:cxn modelId="{3E5ADE23-54BB-4241-B6C2-5BEEB51D9DCC}" srcId="{0E6569FF-00A1-420B-B8CD-650CEA57FD7B}" destId="{E38407AC-0D92-49C7-ABE7-77ACC34D2AC5}" srcOrd="1" destOrd="0" parTransId="{2CD1724A-49F0-4F94-B8BE-440737267C9D}" sibTransId="{9050A47B-433A-4D53-B258-BE7508BE5DAF}"/>
    <dgm:cxn modelId="{E6E42880-784E-403C-95F0-C60D457A6417}" srcId="{DBFB7B55-CA2C-49B0-860D-EA991341AC55}" destId="{0E6569FF-00A1-420B-B8CD-650CEA57FD7B}" srcOrd="1" destOrd="0" parTransId="{F9F345B7-F267-4BCF-8439-450C34FAEE30}" sibTransId="{B88FC52E-43F6-4B73-901F-D84E0D3E7497}"/>
    <dgm:cxn modelId="{EDFAA6A4-0A04-4567-9599-121944C4E998}" type="presOf" srcId="{A29D01DC-9A53-4F3D-BC81-D8F3B29A2767}" destId="{2EE6C19C-C33C-403B-826B-C35304D45C89}" srcOrd="0" destOrd="0" presId="urn:microsoft.com/office/officeart/2005/8/layout/vList2"/>
    <dgm:cxn modelId="{FD38241B-1436-42D1-BB75-62F54246F0C5}" srcId="{A3321170-678A-49D8-B416-82D2F52FE1A0}" destId="{239C2DB0-9A39-4734-82AA-D9D1AE4DDE68}" srcOrd="0" destOrd="0" parTransId="{3F8C0967-F205-4CD0-904E-E4D135A1AFE2}" sibTransId="{A0970F3D-31A8-4940-8DE3-B994D76EA9F6}"/>
    <dgm:cxn modelId="{ED13476C-1B48-48A5-AE56-5A37271E76B1}" type="presOf" srcId="{33399B5D-630D-4AF1-BD2C-850D82FCD11C}" destId="{AE5942C7-F091-41E8-85B9-BB555C53DAD4}" srcOrd="0" destOrd="3" presId="urn:microsoft.com/office/officeart/2005/8/layout/vList2"/>
    <dgm:cxn modelId="{2876D0C0-A7F8-498D-AF1C-C3B976CD4C9B}" srcId="{36676B4F-9314-411E-9C39-BC3CD49C1249}" destId="{5ADA98CA-8D03-4174-9531-A28BD9DC1994}" srcOrd="2" destOrd="0" parTransId="{399BD7D7-259D-405A-83B5-6534F27AB43C}" sibTransId="{4B261306-A178-4068-A2A8-0B0A499D108B}"/>
    <dgm:cxn modelId="{A35B7120-0F8D-4769-B194-79A4C8C0F392}" type="presOf" srcId="{2227FAE8-FF5A-40F7-AE48-9B475E101689}" destId="{AE5942C7-F091-41E8-85B9-BB555C53DAD4}" srcOrd="0" destOrd="1" presId="urn:microsoft.com/office/officeart/2005/8/layout/vList2"/>
    <dgm:cxn modelId="{CA25B9EB-7565-487B-8122-5BCCCD84438F}" type="presOf" srcId="{A3321170-678A-49D8-B416-82D2F52FE1A0}" destId="{E988B636-BBA4-4808-B4F5-903A2C15065A}" srcOrd="0" destOrd="0" presId="urn:microsoft.com/office/officeart/2005/8/layout/vList2"/>
    <dgm:cxn modelId="{040B5EBF-DE21-4102-99F0-1F5448FA08D5}" type="presOf" srcId="{5ADA98CA-8D03-4174-9531-A28BD9DC1994}" destId="{2EE6C19C-C33C-403B-826B-C35304D45C89}" srcOrd="0" destOrd="2" presId="urn:microsoft.com/office/officeart/2005/8/layout/vList2"/>
    <dgm:cxn modelId="{ACC8C247-2418-4DF4-95B5-8CD1AC48ABC9}" srcId="{DBFB7B55-CA2C-49B0-860D-EA991341AC55}" destId="{A3321170-678A-49D8-B416-82D2F52FE1A0}" srcOrd="0" destOrd="0" parTransId="{C9943AF3-6057-4921-A9C1-276CF1655551}" sibTransId="{60ED23B1-F472-4909-909D-011D5B692EFC}"/>
    <dgm:cxn modelId="{9A7AC7A8-6FCE-4E4E-B779-7614A28A5CE7}" type="presParOf" srcId="{9486B8A2-1F75-476C-9DBA-3953CEC2B19C}" destId="{E988B636-BBA4-4808-B4F5-903A2C15065A}" srcOrd="0" destOrd="0" presId="urn:microsoft.com/office/officeart/2005/8/layout/vList2"/>
    <dgm:cxn modelId="{3087D7B5-0EB4-48F1-B915-F44AE28DB6F4}" type="presParOf" srcId="{9486B8A2-1F75-476C-9DBA-3953CEC2B19C}" destId="{AE5942C7-F091-41E8-85B9-BB555C53DAD4}" srcOrd="1" destOrd="0" presId="urn:microsoft.com/office/officeart/2005/8/layout/vList2"/>
    <dgm:cxn modelId="{1A28B9CA-8833-4245-BFBC-D2F6F76138E2}" type="presParOf" srcId="{9486B8A2-1F75-476C-9DBA-3953CEC2B19C}" destId="{AA87DE4E-9E86-48E7-960C-0C7097E7705D}" srcOrd="2" destOrd="0" presId="urn:microsoft.com/office/officeart/2005/8/layout/vList2"/>
    <dgm:cxn modelId="{26341C5A-CC64-475B-898C-036C518856B2}" type="presParOf" srcId="{9486B8A2-1F75-476C-9DBA-3953CEC2B19C}" destId="{E0EF5784-1BDD-4724-B0BF-05E5672C8F25}" srcOrd="3" destOrd="0" presId="urn:microsoft.com/office/officeart/2005/8/layout/vList2"/>
    <dgm:cxn modelId="{20AC9950-3B5E-4A57-805E-54590836C31D}" type="presParOf" srcId="{9486B8A2-1F75-476C-9DBA-3953CEC2B19C}" destId="{21012ADE-CCA6-4DDF-B810-B8CE4EA8D61B}" srcOrd="4" destOrd="0" presId="urn:microsoft.com/office/officeart/2005/8/layout/vList2"/>
    <dgm:cxn modelId="{DF98B642-C031-4016-9B25-A6029DCD29C1}" type="presParOf" srcId="{9486B8A2-1F75-476C-9DBA-3953CEC2B19C}" destId="{2EE6C19C-C33C-403B-826B-C35304D45C89}" srcOrd="5" destOrd="0" presId="urn:microsoft.com/office/officeart/2005/8/layout/vList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896C92E-EC10-40E6-9D98-FEEA2A2A476B}"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lang="en-US"/>
        </a:p>
      </dgm:t>
    </dgm:pt>
    <dgm:pt modelId="{A669D8A6-F353-4090-AE01-BFC8304164FE}">
      <dgm:prSet phldrT="[Text]"/>
      <dgm:spPr/>
      <dgm:t>
        <a:bodyPr/>
        <a:lstStyle/>
        <a:p>
          <a:r>
            <a:rPr lang="en-US" dirty="0" smtClean="0"/>
            <a:t>Student</a:t>
          </a:r>
          <a:endParaRPr lang="en-US" dirty="0"/>
        </a:p>
      </dgm:t>
    </dgm:pt>
    <dgm:pt modelId="{CF9A8DED-5AD6-4B90-A779-1D7D42C7874E}" type="parTrans" cxnId="{5413C519-42DF-49DD-A67C-910BE95B05CF}">
      <dgm:prSet/>
      <dgm:spPr/>
      <dgm:t>
        <a:bodyPr/>
        <a:lstStyle/>
        <a:p>
          <a:endParaRPr lang="en-US"/>
        </a:p>
      </dgm:t>
    </dgm:pt>
    <dgm:pt modelId="{B81CAA55-69DE-46B9-8C59-058A136F4B0D}" type="sibTrans" cxnId="{5413C519-42DF-49DD-A67C-910BE95B05CF}">
      <dgm:prSet/>
      <dgm:spPr/>
      <dgm:t>
        <a:bodyPr/>
        <a:lstStyle/>
        <a:p>
          <a:endParaRPr lang="en-US"/>
        </a:p>
      </dgm:t>
    </dgm:pt>
    <dgm:pt modelId="{710B80A6-66C6-497B-935B-D1BDBE87D2D9}">
      <dgm:prSet phldrT="[Text]" custT="1"/>
      <dgm:spPr/>
      <dgm:t>
        <a:bodyPr/>
        <a:lstStyle/>
        <a:p>
          <a:r>
            <a:rPr lang="en-US" sz="1000" dirty="0" smtClean="0"/>
            <a:t>Student &amp; Academic Records</a:t>
          </a:r>
          <a:endParaRPr lang="en-US" sz="1000" dirty="0"/>
        </a:p>
      </dgm:t>
    </dgm:pt>
    <dgm:pt modelId="{57CF7407-8C14-4FD3-9685-BF81A960DEDA}" type="parTrans" cxnId="{D3A7EBEC-6DC2-469D-9058-553E782AF659}">
      <dgm:prSet/>
      <dgm:spPr/>
      <dgm:t>
        <a:bodyPr/>
        <a:lstStyle/>
        <a:p>
          <a:endParaRPr lang="en-US"/>
        </a:p>
      </dgm:t>
    </dgm:pt>
    <dgm:pt modelId="{040C9393-A557-4BB9-8709-DE3C90245B72}" type="sibTrans" cxnId="{D3A7EBEC-6DC2-469D-9058-553E782AF659}">
      <dgm:prSet/>
      <dgm:spPr/>
      <dgm:t>
        <a:bodyPr/>
        <a:lstStyle/>
        <a:p>
          <a:endParaRPr lang="en-US"/>
        </a:p>
      </dgm:t>
    </dgm:pt>
    <dgm:pt modelId="{DA972085-F5D4-4BBF-92EC-9AA47243E356}">
      <dgm:prSet phldrT="[Text]"/>
      <dgm:spPr/>
      <dgm:t>
        <a:bodyPr/>
        <a:lstStyle/>
        <a:p>
          <a:r>
            <a:rPr lang="en-US" dirty="0" smtClean="0"/>
            <a:t>Finance</a:t>
          </a:r>
          <a:endParaRPr lang="en-US" dirty="0"/>
        </a:p>
      </dgm:t>
    </dgm:pt>
    <dgm:pt modelId="{0B63F0E0-6F1C-4151-8D00-2ED4DDB056B4}" type="parTrans" cxnId="{F7B2FE5C-8E9D-4897-B825-47BC9019DB22}">
      <dgm:prSet/>
      <dgm:spPr/>
      <dgm:t>
        <a:bodyPr/>
        <a:lstStyle/>
        <a:p>
          <a:endParaRPr lang="en-US"/>
        </a:p>
      </dgm:t>
    </dgm:pt>
    <dgm:pt modelId="{0ABD3E4D-FACD-4A7B-8D41-1FD66DD2C251}" type="sibTrans" cxnId="{F7B2FE5C-8E9D-4897-B825-47BC9019DB22}">
      <dgm:prSet/>
      <dgm:spPr/>
      <dgm:t>
        <a:bodyPr/>
        <a:lstStyle/>
        <a:p>
          <a:endParaRPr lang="en-US"/>
        </a:p>
      </dgm:t>
    </dgm:pt>
    <dgm:pt modelId="{032B69BD-CD12-417B-8171-185948D9DD64}">
      <dgm:prSet phldrT="[Text]" custT="1"/>
      <dgm:spPr/>
      <dgm:t>
        <a:bodyPr/>
        <a:lstStyle/>
        <a:p>
          <a:pPr algn="r"/>
          <a:r>
            <a:rPr lang="en-US" sz="1000" b="0" dirty="0" smtClean="0"/>
            <a:t>General Ledger (GL)</a:t>
          </a:r>
        </a:p>
      </dgm:t>
    </dgm:pt>
    <dgm:pt modelId="{E17F0033-ED29-47BD-9C8D-2335C5DD48C0}" type="parTrans" cxnId="{D504707C-7B9B-4DBA-A7C4-DFDF70707666}">
      <dgm:prSet/>
      <dgm:spPr/>
      <dgm:t>
        <a:bodyPr/>
        <a:lstStyle/>
        <a:p>
          <a:endParaRPr lang="en-US"/>
        </a:p>
      </dgm:t>
    </dgm:pt>
    <dgm:pt modelId="{0DA1C0AA-5995-4BD0-B84E-D3C946A5CBBD}" type="sibTrans" cxnId="{D504707C-7B9B-4DBA-A7C4-DFDF70707666}">
      <dgm:prSet/>
      <dgm:spPr/>
      <dgm:t>
        <a:bodyPr/>
        <a:lstStyle/>
        <a:p>
          <a:endParaRPr lang="en-US"/>
        </a:p>
      </dgm:t>
    </dgm:pt>
    <dgm:pt modelId="{C2BF4554-6C1F-44DC-974A-426055137E19}">
      <dgm:prSet phldrT="[Text]"/>
      <dgm:spPr/>
      <dgm:t>
        <a:bodyPr/>
        <a:lstStyle/>
        <a:p>
          <a:endParaRPr lang="en-US" dirty="0" smtClean="0"/>
        </a:p>
        <a:p>
          <a:endParaRPr lang="en-US" dirty="0" smtClean="0"/>
        </a:p>
        <a:p>
          <a:r>
            <a:rPr lang="en-US" dirty="0" smtClean="0"/>
            <a:t>Enterprise Mgmt</a:t>
          </a:r>
          <a:endParaRPr lang="en-US" dirty="0"/>
        </a:p>
      </dgm:t>
    </dgm:pt>
    <dgm:pt modelId="{11E9B9F3-511C-4A96-A199-419CA4E7E0EA}" type="parTrans" cxnId="{D6054BF0-A068-4E7D-9AAB-EEB46E8FB403}">
      <dgm:prSet/>
      <dgm:spPr/>
      <dgm:t>
        <a:bodyPr/>
        <a:lstStyle/>
        <a:p>
          <a:endParaRPr lang="en-US"/>
        </a:p>
      </dgm:t>
    </dgm:pt>
    <dgm:pt modelId="{C1536475-0FAA-4F6F-9A4A-960139774E26}" type="sibTrans" cxnId="{D6054BF0-A068-4E7D-9AAB-EEB46E8FB403}">
      <dgm:prSet/>
      <dgm:spPr/>
      <dgm:t>
        <a:bodyPr/>
        <a:lstStyle/>
        <a:p>
          <a:endParaRPr lang="en-US"/>
        </a:p>
      </dgm:t>
    </dgm:pt>
    <dgm:pt modelId="{09C37AD6-A34B-4A63-87DE-3DDCEFF31F76}">
      <dgm:prSet phldrT="[Text]" custT="1"/>
      <dgm:spPr/>
      <dgm:t>
        <a:bodyPr/>
        <a:lstStyle/>
        <a:p>
          <a:pPr algn="r"/>
          <a:r>
            <a:rPr lang="en-US" sz="1000" b="0" i="0" u="none" strike="noStrike" dirty="0" smtClean="0">
              <a:solidFill>
                <a:srgbClr val="000000"/>
              </a:solidFill>
              <a:latin typeface="Arial"/>
            </a:rPr>
            <a:t>Reporting &amp; Analytics</a:t>
          </a:r>
        </a:p>
      </dgm:t>
    </dgm:pt>
    <dgm:pt modelId="{A31BD4E2-F3FC-4318-80AA-BCF4FB18F439}" type="parTrans" cxnId="{4AE76AF8-04F8-499F-AB15-428B83F3A15B}">
      <dgm:prSet/>
      <dgm:spPr/>
      <dgm:t>
        <a:bodyPr/>
        <a:lstStyle/>
        <a:p>
          <a:endParaRPr lang="en-US"/>
        </a:p>
      </dgm:t>
    </dgm:pt>
    <dgm:pt modelId="{E2B9D4EE-5AFB-4209-B159-068818F9C2FB}" type="sibTrans" cxnId="{4AE76AF8-04F8-499F-AB15-428B83F3A15B}">
      <dgm:prSet/>
      <dgm:spPr/>
      <dgm:t>
        <a:bodyPr/>
        <a:lstStyle/>
        <a:p>
          <a:endParaRPr lang="en-US"/>
        </a:p>
      </dgm:t>
    </dgm:pt>
    <dgm:pt modelId="{1A611383-3637-408A-B499-AFCC0186F8FD}">
      <dgm:prSet phldrT="[Text]"/>
      <dgm:spPr/>
      <dgm:t>
        <a:bodyPr/>
        <a:lstStyle/>
        <a:p>
          <a:endParaRPr lang="en-US" dirty="0" smtClean="0"/>
        </a:p>
        <a:p>
          <a:r>
            <a:rPr lang="en-US" dirty="0" smtClean="0"/>
            <a:t>HR/Payroll</a:t>
          </a:r>
          <a:endParaRPr lang="en-US" dirty="0"/>
        </a:p>
      </dgm:t>
    </dgm:pt>
    <dgm:pt modelId="{476B6AEE-9439-4FC7-A531-2718967657A7}" type="parTrans" cxnId="{B8B5E0F4-BE43-49C7-AC1D-A4CB6F75CBEF}">
      <dgm:prSet/>
      <dgm:spPr/>
      <dgm:t>
        <a:bodyPr/>
        <a:lstStyle/>
        <a:p>
          <a:endParaRPr lang="en-US"/>
        </a:p>
      </dgm:t>
    </dgm:pt>
    <dgm:pt modelId="{E3474A2B-B333-406B-9AE1-776ECA3E445E}" type="sibTrans" cxnId="{B8B5E0F4-BE43-49C7-AC1D-A4CB6F75CBEF}">
      <dgm:prSet/>
      <dgm:spPr/>
      <dgm:t>
        <a:bodyPr/>
        <a:lstStyle/>
        <a:p>
          <a:endParaRPr lang="en-US"/>
        </a:p>
      </dgm:t>
    </dgm:pt>
    <dgm:pt modelId="{57739804-BD3D-45F6-AD80-F9EE96A52F3E}">
      <dgm:prSet phldrT="[Text]" custT="1"/>
      <dgm:spPr/>
      <dgm:t>
        <a:bodyPr/>
        <a:lstStyle/>
        <a:p>
          <a:r>
            <a:rPr lang="en-US" sz="1000" dirty="0" smtClean="0"/>
            <a:t>Recruiting</a:t>
          </a:r>
        </a:p>
      </dgm:t>
    </dgm:pt>
    <dgm:pt modelId="{487FD28C-029B-40F6-A5DC-6CB33CC7ABB0}" type="parTrans" cxnId="{13ADC233-0959-438B-9328-DD5D2FB05EE6}">
      <dgm:prSet/>
      <dgm:spPr/>
      <dgm:t>
        <a:bodyPr/>
        <a:lstStyle/>
        <a:p>
          <a:endParaRPr lang="en-US"/>
        </a:p>
      </dgm:t>
    </dgm:pt>
    <dgm:pt modelId="{33032399-9E2F-4E78-99EE-9D059B504D46}" type="sibTrans" cxnId="{13ADC233-0959-438B-9328-DD5D2FB05EE6}">
      <dgm:prSet/>
      <dgm:spPr/>
      <dgm:t>
        <a:bodyPr/>
        <a:lstStyle/>
        <a:p>
          <a:endParaRPr lang="en-US"/>
        </a:p>
      </dgm:t>
    </dgm:pt>
    <dgm:pt modelId="{E7E5BD30-AC74-4943-8F9F-379E5B952AD4}">
      <dgm:prSet phldrT="[Text]"/>
      <dgm:spPr/>
      <dgm:t>
        <a:bodyPr/>
        <a:lstStyle/>
        <a:p>
          <a:endParaRPr lang="en-US" sz="500" dirty="0"/>
        </a:p>
      </dgm:t>
    </dgm:pt>
    <dgm:pt modelId="{5C35CE13-2BE8-481B-B813-7762DD9C02BD}" type="parTrans" cxnId="{C1A33A6B-A82C-44B9-BD41-C06631CF854F}">
      <dgm:prSet/>
      <dgm:spPr/>
      <dgm:t>
        <a:bodyPr/>
        <a:lstStyle/>
        <a:p>
          <a:endParaRPr lang="en-US"/>
        </a:p>
      </dgm:t>
    </dgm:pt>
    <dgm:pt modelId="{03E69620-4248-4CD2-A079-34401E4EFC2B}" type="sibTrans" cxnId="{C1A33A6B-A82C-44B9-BD41-C06631CF854F}">
      <dgm:prSet/>
      <dgm:spPr/>
      <dgm:t>
        <a:bodyPr/>
        <a:lstStyle/>
        <a:p>
          <a:endParaRPr lang="en-US"/>
        </a:p>
      </dgm:t>
    </dgm:pt>
    <dgm:pt modelId="{E157E270-EE80-43C5-8063-0C3624B06CD8}">
      <dgm:prSet phldrT="[Text]"/>
      <dgm:spPr/>
      <dgm:t>
        <a:bodyPr/>
        <a:lstStyle/>
        <a:p>
          <a:endParaRPr lang="en-US" sz="500" dirty="0"/>
        </a:p>
      </dgm:t>
    </dgm:pt>
    <dgm:pt modelId="{E18643C8-BD72-4C5C-9061-CC1D30888455}" type="parTrans" cxnId="{A538FF1B-0B0E-49DD-A0BB-C60063771ABC}">
      <dgm:prSet/>
      <dgm:spPr/>
      <dgm:t>
        <a:bodyPr/>
        <a:lstStyle/>
        <a:p>
          <a:endParaRPr lang="en-US"/>
        </a:p>
      </dgm:t>
    </dgm:pt>
    <dgm:pt modelId="{2666184F-396E-440C-9C72-5EEBBDFE3DB3}" type="sibTrans" cxnId="{A538FF1B-0B0E-49DD-A0BB-C60063771ABC}">
      <dgm:prSet/>
      <dgm:spPr/>
      <dgm:t>
        <a:bodyPr/>
        <a:lstStyle/>
        <a:p>
          <a:endParaRPr lang="en-US"/>
        </a:p>
      </dgm:t>
    </dgm:pt>
    <dgm:pt modelId="{C67BDD4E-134C-4243-A166-BF1211161D57}">
      <dgm:prSet phldrT="[Text]"/>
      <dgm:spPr/>
      <dgm:t>
        <a:bodyPr/>
        <a:lstStyle/>
        <a:p>
          <a:endParaRPr lang="en-US" sz="500" dirty="0"/>
        </a:p>
      </dgm:t>
    </dgm:pt>
    <dgm:pt modelId="{363F6C93-83A9-4758-A99E-31B9F2F43FC5}" type="parTrans" cxnId="{E5A39C18-E538-48CC-8B11-06EF6E30AFC5}">
      <dgm:prSet/>
      <dgm:spPr/>
      <dgm:t>
        <a:bodyPr/>
        <a:lstStyle/>
        <a:p>
          <a:endParaRPr lang="en-US"/>
        </a:p>
      </dgm:t>
    </dgm:pt>
    <dgm:pt modelId="{6A14FD56-B35D-4BEA-B52E-581C7B385A37}" type="sibTrans" cxnId="{E5A39C18-E538-48CC-8B11-06EF6E30AFC5}">
      <dgm:prSet/>
      <dgm:spPr/>
      <dgm:t>
        <a:bodyPr/>
        <a:lstStyle/>
        <a:p>
          <a:endParaRPr lang="en-US"/>
        </a:p>
      </dgm:t>
    </dgm:pt>
    <dgm:pt modelId="{0C0E8EEF-BADA-4DFC-A18C-759A0BDE2E6D}">
      <dgm:prSet phldrT="[Text]"/>
      <dgm:spPr/>
      <dgm:t>
        <a:bodyPr/>
        <a:lstStyle/>
        <a:p>
          <a:endParaRPr lang="en-US" sz="500" dirty="0"/>
        </a:p>
      </dgm:t>
    </dgm:pt>
    <dgm:pt modelId="{8BBE828F-CCF4-4AB8-9194-8FCCE30EE375}" type="parTrans" cxnId="{2377413D-5B74-434D-8468-780BD5479C55}">
      <dgm:prSet/>
      <dgm:spPr/>
      <dgm:t>
        <a:bodyPr/>
        <a:lstStyle/>
        <a:p>
          <a:endParaRPr lang="en-US"/>
        </a:p>
      </dgm:t>
    </dgm:pt>
    <dgm:pt modelId="{E781AB92-DFC4-4778-AC35-4A696FC9E777}" type="sibTrans" cxnId="{2377413D-5B74-434D-8468-780BD5479C55}">
      <dgm:prSet/>
      <dgm:spPr/>
      <dgm:t>
        <a:bodyPr/>
        <a:lstStyle/>
        <a:p>
          <a:endParaRPr lang="en-US"/>
        </a:p>
      </dgm:t>
    </dgm:pt>
    <dgm:pt modelId="{5C338367-77E2-478D-8BE6-CA5EEA479702}">
      <dgm:prSet custT="1"/>
      <dgm:spPr/>
      <dgm:t>
        <a:bodyPr/>
        <a:lstStyle/>
        <a:p>
          <a:r>
            <a:rPr lang="en-US" sz="1000" dirty="0" smtClean="0"/>
            <a:t>Recruiting &amp; Admissions</a:t>
          </a:r>
          <a:endParaRPr lang="en-US" sz="1000" dirty="0"/>
        </a:p>
      </dgm:t>
    </dgm:pt>
    <dgm:pt modelId="{8AA9BB7B-1D55-42D1-9F68-B5E5C0190C18}" type="parTrans" cxnId="{C243558E-802D-4FA9-8C0D-1C6916395733}">
      <dgm:prSet/>
      <dgm:spPr/>
      <dgm:t>
        <a:bodyPr/>
        <a:lstStyle/>
        <a:p>
          <a:endParaRPr lang="en-US"/>
        </a:p>
      </dgm:t>
    </dgm:pt>
    <dgm:pt modelId="{0340EA5E-454C-41FA-8919-A6CE517095BE}" type="sibTrans" cxnId="{C243558E-802D-4FA9-8C0D-1C6916395733}">
      <dgm:prSet/>
      <dgm:spPr/>
      <dgm:t>
        <a:bodyPr/>
        <a:lstStyle/>
        <a:p>
          <a:endParaRPr lang="en-US"/>
        </a:p>
      </dgm:t>
    </dgm:pt>
    <dgm:pt modelId="{C0D9EB2A-4EBB-496C-8BAA-F0AF25FD05EE}">
      <dgm:prSet custT="1"/>
      <dgm:spPr/>
      <dgm:t>
        <a:bodyPr/>
        <a:lstStyle/>
        <a:p>
          <a:r>
            <a:rPr lang="en-US" sz="1000" dirty="0" smtClean="0"/>
            <a:t>Scheduling &amp; Registration</a:t>
          </a:r>
          <a:endParaRPr lang="en-US" sz="1000" dirty="0"/>
        </a:p>
      </dgm:t>
    </dgm:pt>
    <dgm:pt modelId="{2E93741B-8C62-4319-A04C-3B0B3E8EDD3C}" type="parTrans" cxnId="{8519D20B-D993-438A-9E3A-8233007DA3C7}">
      <dgm:prSet/>
      <dgm:spPr/>
      <dgm:t>
        <a:bodyPr/>
        <a:lstStyle/>
        <a:p>
          <a:endParaRPr lang="en-US"/>
        </a:p>
      </dgm:t>
    </dgm:pt>
    <dgm:pt modelId="{433B1986-0DFA-4302-8083-E27CA8889461}" type="sibTrans" cxnId="{8519D20B-D993-438A-9E3A-8233007DA3C7}">
      <dgm:prSet/>
      <dgm:spPr/>
      <dgm:t>
        <a:bodyPr/>
        <a:lstStyle/>
        <a:p>
          <a:endParaRPr lang="en-US"/>
        </a:p>
      </dgm:t>
    </dgm:pt>
    <dgm:pt modelId="{E173EDD6-3E96-4386-9E88-6329CC04EE39}">
      <dgm:prSet custT="1"/>
      <dgm:spPr/>
      <dgm:t>
        <a:bodyPr/>
        <a:lstStyle/>
        <a:p>
          <a:r>
            <a:rPr lang="en-US" sz="1000" dirty="0" smtClean="0"/>
            <a:t>Academic Affairs</a:t>
          </a:r>
          <a:endParaRPr lang="en-US" sz="1000" dirty="0"/>
        </a:p>
      </dgm:t>
    </dgm:pt>
    <dgm:pt modelId="{FDF917F4-4023-4D1A-A076-09A295E303CB}" type="parTrans" cxnId="{271E37F3-095B-4373-9E03-CD15B3B2B2EB}">
      <dgm:prSet/>
      <dgm:spPr/>
      <dgm:t>
        <a:bodyPr/>
        <a:lstStyle/>
        <a:p>
          <a:endParaRPr lang="en-US"/>
        </a:p>
      </dgm:t>
    </dgm:pt>
    <dgm:pt modelId="{4CE34374-1AD1-49AE-B54D-F94A949D6202}" type="sibTrans" cxnId="{271E37F3-095B-4373-9E03-CD15B3B2B2EB}">
      <dgm:prSet/>
      <dgm:spPr/>
      <dgm:t>
        <a:bodyPr/>
        <a:lstStyle/>
        <a:p>
          <a:endParaRPr lang="en-US"/>
        </a:p>
      </dgm:t>
    </dgm:pt>
    <dgm:pt modelId="{BC14B734-9B49-4A6D-B557-78438B728498}">
      <dgm:prSet custT="1"/>
      <dgm:spPr/>
      <dgm:t>
        <a:bodyPr/>
        <a:lstStyle/>
        <a:p>
          <a:r>
            <a:rPr lang="en-US" sz="1000" dirty="0" smtClean="0"/>
            <a:t>Student Services</a:t>
          </a:r>
          <a:endParaRPr lang="en-US" sz="1000" dirty="0"/>
        </a:p>
      </dgm:t>
    </dgm:pt>
    <dgm:pt modelId="{6E28F81F-EDBC-49C3-AFB6-5F062225C6D3}" type="parTrans" cxnId="{EB8AA0DE-B974-459C-B63F-49621AECA6EC}">
      <dgm:prSet/>
      <dgm:spPr/>
      <dgm:t>
        <a:bodyPr/>
        <a:lstStyle/>
        <a:p>
          <a:endParaRPr lang="en-US"/>
        </a:p>
      </dgm:t>
    </dgm:pt>
    <dgm:pt modelId="{593B1670-6F6C-4AFD-9462-C74FD465DCE7}" type="sibTrans" cxnId="{EB8AA0DE-B974-459C-B63F-49621AECA6EC}">
      <dgm:prSet/>
      <dgm:spPr/>
      <dgm:t>
        <a:bodyPr/>
        <a:lstStyle/>
        <a:p>
          <a:endParaRPr lang="en-US"/>
        </a:p>
      </dgm:t>
    </dgm:pt>
    <dgm:pt modelId="{226D03BF-7190-4E88-BFD8-3654CE52DCD1}">
      <dgm:prSet custT="1"/>
      <dgm:spPr/>
      <dgm:t>
        <a:bodyPr/>
        <a:lstStyle/>
        <a:p>
          <a:r>
            <a:rPr lang="en-US" sz="1000" dirty="0" smtClean="0"/>
            <a:t>Financial Aid</a:t>
          </a:r>
          <a:endParaRPr lang="en-US" sz="1000" dirty="0"/>
        </a:p>
      </dgm:t>
    </dgm:pt>
    <dgm:pt modelId="{E7B9A022-AACD-4175-A21E-DAEE062D82A2}" type="parTrans" cxnId="{D66FC460-6A7C-4735-98B6-8AA2C4413EA0}">
      <dgm:prSet/>
      <dgm:spPr/>
      <dgm:t>
        <a:bodyPr/>
        <a:lstStyle/>
        <a:p>
          <a:endParaRPr lang="en-US"/>
        </a:p>
      </dgm:t>
    </dgm:pt>
    <dgm:pt modelId="{D607CB06-600E-423A-BA27-C168776F80AF}" type="sibTrans" cxnId="{D66FC460-6A7C-4735-98B6-8AA2C4413EA0}">
      <dgm:prSet/>
      <dgm:spPr/>
      <dgm:t>
        <a:bodyPr/>
        <a:lstStyle/>
        <a:p>
          <a:endParaRPr lang="en-US"/>
        </a:p>
      </dgm:t>
    </dgm:pt>
    <dgm:pt modelId="{9C2D036F-BC0F-4297-B6A1-941776855725}">
      <dgm:prSet custT="1"/>
      <dgm:spPr/>
      <dgm:t>
        <a:bodyPr/>
        <a:lstStyle/>
        <a:p>
          <a:r>
            <a:rPr lang="en-US" sz="1000" dirty="0" smtClean="0"/>
            <a:t>Student Financials</a:t>
          </a:r>
          <a:endParaRPr lang="en-US" sz="1000" dirty="0"/>
        </a:p>
      </dgm:t>
    </dgm:pt>
    <dgm:pt modelId="{548E7F19-E39F-403D-891D-B8368B34A437}" type="parTrans" cxnId="{A304F22E-1CFA-41D7-815B-D6D95C56B62D}">
      <dgm:prSet/>
      <dgm:spPr/>
      <dgm:t>
        <a:bodyPr/>
        <a:lstStyle/>
        <a:p>
          <a:endParaRPr lang="en-US"/>
        </a:p>
      </dgm:t>
    </dgm:pt>
    <dgm:pt modelId="{D78E1379-DCB2-4C1E-9B0E-D907518DB8B1}" type="sibTrans" cxnId="{A304F22E-1CFA-41D7-815B-D6D95C56B62D}">
      <dgm:prSet/>
      <dgm:spPr/>
      <dgm:t>
        <a:bodyPr/>
        <a:lstStyle/>
        <a:p>
          <a:endParaRPr lang="en-US"/>
        </a:p>
      </dgm:t>
    </dgm:pt>
    <dgm:pt modelId="{03750B82-376F-487B-81FC-9CE48F8E4207}">
      <dgm:prSet custT="1"/>
      <dgm:spPr/>
      <dgm:t>
        <a:bodyPr/>
        <a:lstStyle/>
        <a:p>
          <a:endParaRPr lang="en-US" sz="1000" dirty="0"/>
        </a:p>
      </dgm:t>
    </dgm:pt>
    <dgm:pt modelId="{92DFF7E5-DFCD-49E9-8ACB-6993E9EC9E70}" type="parTrans" cxnId="{61577F37-DC39-465D-9627-360B9A390020}">
      <dgm:prSet/>
      <dgm:spPr/>
      <dgm:t>
        <a:bodyPr/>
        <a:lstStyle/>
        <a:p>
          <a:endParaRPr lang="en-US"/>
        </a:p>
      </dgm:t>
    </dgm:pt>
    <dgm:pt modelId="{7EE3D893-FFBB-4599-A080-38297A0CD7A8}" type="sibTrans" cxnId="{61577F37-DC39-465D-9627-360B9A390020}">
      <dgm:prSet/>
      <dgm:spPr/>
      <dgm:t>
        <a:bodyPr/>
        <a:lstStyle/>
        <a:p>
          <a:endParaRPr lang="en-US"/>
        </a:p>
      </dgm:t>
    </dgm:pt>
    <dgm:pt modelId="{E98115D8-FF15-4729-89D1-8D25AACD4AD5}">
      <dgm:prSet custT="1"/>
      <dgm:spPr/>
      <dgm:t>
        <a:bodyPr/>
        <a:lstStyle/>
        <a:p>
          <a:pPr algn="r"/>
          <a:r>
            <a:rPr lang="en-US" sz="1000" b="0" dirty="0" smtClean="0"/>
            <a:t>Accounts Payable (AP) </a:t>
          </a:r>
        </a:p>
      </dgm:t>
    </dgm:pt>
    <dgm:pt modelId="{CD19B0FB-0FC9-4B7D-A87F-E278686916D7}" type="parTrans" cxnId="{08A542F0-8787-4F4E-8D24-371B2842D121}">
      <dgm:prSet/>
      <dgm:spPr/>
      <dgm:t>
        <a:bodyPr/>
        <a:lstStyle/>
        <a:p>
          <a:endParaRPr lang="en-US"/>
        </a:p>
      </dgm:t>
    </dgm:pt>
    <dgm:pt modelId="{A0ADE5B7-ADAA-4594-9D90-02DB6AAD488E}" type="sibTrans" cxnId="{08A542F0-8787-4F4E-8D24-371B2842D121}">
      <dgm:prSet/>
      <dgm:spPr/>
      <dgm:t>
        <a:bodyPr/>
        <a:lstStyle/>
        <a:p>
          <a:endParaRPr lang="en-US"/>
        </a:p>
      </dgm:t>
    </dgm:pt>
    <dgm:pt modelId="{C2CC978C-FFC8-4680-8FA6-8E75F0C11C79}">
      <dgm:prSet custT="1"/>
      <dgm:spPr/>
      <dgm:t>
        <a:bodyPr/>
        <a:lstStyle/>
        <a:p>
          <a:pPr algn="r"/>
          <a:r>
            <a:rPr lang="en-US" sz="1000" b="0" dirty="0" smtClean="0"/>
            <a:t>Accounts Receivable (AR)</a:t>
          </a:r>
        </a:p>
      </dgm:t>
    </dgm:pt>
    <dgm:pt modelId="{0B5FE9D6-4302-420B-803B-1D1E4B723C29}" type="parTrans" cxnId="{B667219F-DF89-41AC-9056-3CAA8D3F695A}">
      <dgm:prSet/>
      <dgm:spPr/>
      <dgm:t>
        <a:bodyPr/>
        <a:lstStyle/>
        <a:p>
          <a:endParaRPr lang="en-US"/>
        </a:p>
      </dgm:t>
    </dgm:pt>
    <dgm:pt modelId="{F9185A34-B1C2-42A6-A04E-538E6CE6BAD2}" type="sibTrans" cxnId="{B667219F-DF89-41AC-9056-3CAA8D3F695A}">
      <dgm:prSet/>
      <dgm:spPr/>
      <dgm:t>
        <a:bodyPr/>
        <a:lstStyle/>
        <a:p>
          <a:endParaRPr lang="en-US"/>
        </a:p>
      </dgm:t>
    </dgm:pt>
    <dgm:pt modelId="{72717EDD-65BA-49AD-B483-2980E7C32B56}">
      <dgm:prSet custT="1"/>
      <dgm:spPr/>
      <dgm:t>
        <a:bodyPr/>
        <a:lstStyle/>
        <a:p>
          <a:pPr algn="r"/>
          <a:r>
            <a:rPr lang="en-US" sz="1000" b="0" dirty="0" smtClean="0"/>
            <a:t>Asset &amp; Inventory</a:t>
          </a:r>
        </a:p>
      </dgm:t>
    </dgm:pt>
    <dgm:pt modelId="{5C25EBC3-1940-48A1-86F2-1DC7D97AE76F}" type="parTrans" cxnId="{0D18056C-E16B-4940-989F-944572F1F07D}">
      <dgm:prSet/>
      <dgm:spPr/>
      <dgm:t>
        <a:bodyPr/>
        <a:lstStyle/>
        <a:p>
          <a:endParaRPr lang="en-US"/>
        </a:p>
      </dgm:t>
    </dgm:pt>
    <dgm:pt modelId="{A1F21EA0-4EDE-45AC-8435-9D48F60FA8C2}" type="sibTrans" cxnId="{0D18056C-E16B-4940-989F-944572F1F07D}">
      <dgm:prSet/>
      <dgm:spPr/>
      <dgm:t>
        <a:bodyPr/>
        <a:lstStyle/>
        <a:p>
          <a:endParaRPr lang="en-US"/>
        </a:p>
      </dgm:t>
    </dgm:pt>
    <dgm:pt modelId="{0C1E61F2-5331-4757-BE51-FFA9FFB81438}">
      <dgm:prSet custT="1"/>
      <dgm:spPr/>
      <dgm:t>
        <a:bodyPr/>
        <a:lstStyle/>
        <a:p>
          <a:pPr algn="r"/>
          <a:r>
            <a:rPr lang="en-US" sz="1000" b="0" dirty="0" smtClean="0"/>
            <a:t>Treasury (Cash Management)</a:t>
          </a:r>
        </a:p>
      </dgm:t>
    </dgm:pt>
    <dgm:pt modelId="{D244642E-FAF4-4146-A55A-A304BADB2808}" type="parTrans" cxnId="{D04A7E4E-3A59-4AA2-A124-4460FBE1E4AC}">
      <dgm:prSet/>
      <dgm:spPr/>
      <dgm:t>
        <a:bodyPr/>
        <a:lstStyle/>
        <a:p>
          <a:endParaRPr lang="en-US"/>
        </a:p>
      </dgm:t>
    </dgm:pt>
    <dgm:pt modelId="{FAD1AC28-3A6C-474D-85C1-A865B1D3412B}" type="sibTrans" cxnId="{D04A7E4E-3A59-4AA2-A124-4460FBE1E4AC}">
      <dgm:prSet/>
      <dgm:spPr/>
      <dgm:t>
        <a:bodyPr/>
        <a:lstStyle/>
        <a:p>
          <a:endParaRPr lang="en-US"/>
        </a:p>
      </dgm:t>
    </dgm:pt>
    <dgm:pt modelId="{E7E9B13E-98F5-461F-B464-9AAC51766558}">
      <dgm:prSet custT="1"/>
      <dgm:spPr/>
      <dgm:t>
        <a:bodyPr/>
        <a:lstStyle/>
        <a:p>
          <a:pPr algn="l"/>
          <a:endParaRPr lang="en-US" sz="1000" b="0" dirty="0" smtClean="0"/>
        </a:p>
      </dgm:t>
    </dgm:pt>
    <dgm:pt modelId="{9EC2997F-419F-46A4-98CB-87609DDD939D}" type="parTrans" cxnId="{7FC88E47-B149-4021-BDF4-34FD238970DC}">
      <dgm:prSet/>
      <dgm:spPr/>
      <dgm:t>
        <a:bodyPr/>
        <a:lstStyle/>
        <a:p>
          <a:endParaRPr lang="en-US"/>
        </a:p>
      </dgm:t>
    </dgm:pt>
    <dgm:pt modelId="{CD001A9A-6B71-44DB-BA3C-F7FFDB086510}" type="sibTrans" cxnId="{7FC88E47-B149-4021-BDF4-34FD238970DC}">
      <dgm:prSet/>
      <dgm:spPr/>
      <dgm:t>
        <a:bodyPr/>
        <a:lstStyle/>
        <a:p>
          <a:endParaRPr lang="en-US"/>
        </a:p>
      </dgm:t>
    </dgm:pt>
    <dgm:pt modelId="{93D0BEA3-13B5-45C6-AE47-21BA92E977FB}">
      <dgm:prSet custT="1"/>
      <dgm:spPr/>
      <dgm:t>
        <a:bodyPr/>
        <a:lstStyle/>
        <a:p>
          <a:pPr algn="r"/>
          <a:r>
            <a:rPr lang="en-US" sz="1000" b="0" i="0" u="none" strike="noStrike" dirty="0" smtClean="0">
              <a:solidFill>
                <a:srgbClr val="000000"/>
              </a:solidFill>
              <a:latin typeface="Arial"/>
            </a:rPr>
            <a:t>Budget </a:t>
          </a:r>
          <a:r>
            <a:rPr lang="en-US" sz="1000" b="0" i="0" u="none" strike="noStrike" dirty="0" err="1" smtClean="0">
              <a:solidFill>
                <a:srgbClr val="000000"/>
              </a:solidFill>
              <a:latin typeface="Arial"/>
            </a:rPr>
            <a:t>Devt</a:t>
          </a:r>
          <a:r>
            <a:rPr lang="en-US" sz="1000" b="0" i="0" u="none" strike="noStrike" dirty="0" smtClean="0">
              <a:solidFill>
                <a:srgbClr val="000000"/>
              </a:solidFill>
              <a:latin typeface="Arial"/>
            </a:rPr>
            <a:t> &amp; Position Control</a:t>
          </a:r>
          <a:endParaRPr lang="en-US" sz="1000" b="0" dirty="0" smtClean="0"/>
        </a:p>
      </dgm:t>
    </dgm:pt>
    <dgm:pt modelId="{57851BB6-5C04-4CE6-959B-E35F88D9EEA6}" type="parTrans" cxnId="{3313D067-B7F5-4CF6-B77D-B0803B0C5ADC}">
      <dgm:prSet/>
      <dgm:spPr/>
      <dgm:t>
        <a:bodyPr/>
        <a:lstStyle/>
        <a:p>
          <a:endParaRPr lang="en-US"/>
        </a:p>
      </dgm:t>
    </dgm:pt>
    <dgm:pt modelId="{65EA89D9-F2FE-4585-93AD-C2F49D569746}" type="sibTrans" cxnId="{3313D067-B7F5-4CF6-B77D-B0803B0C5ADC}">
      <dgm:prSet/>
      <dgm:spPr/>
      <dgm:t>
        <a:bodyPr/>
        <a:lstStyle/>
        <a:p>
          <a:endParaRPr lang="en-US"/>
        </a:p>
      </dgm:t>
    </dgm:pt>
    <dgm:pt modelId="{72EF54AA-9663-4474-9019-5821785BF55D}">
      <dgm:prSet custT="1"/>
      <dgm:spPr/>
      <dgm:t>
        <a:bodyPr/>
        <a:lstStyle/>
        <a:p>
          <a:pPr algn="r"/>
          <a:r>
            <a:rPr lang="en-US" sz="1000" b="0" i="0" u="none" strike="noStrike" dirty="0" smtClean="0">
              <a:solidFill>
                <a:srgbClr val="000000"/>
              </a:solidFill>
              <a:latin typeface="Arial"/>
            </a:rPr>
            <a:t>Research &amp; Project Accounting  </a:t>
          </a:r>
          <a:endParaRPr lang="en-US" sz="1000" b="0" dirty="0" smtClean="0"/>
        </a:p>
      </dgm:t>
    </dgm:pt>
    <dgm:pt modelId="{0E7DA822-1BE9-48C3-BC64-D4C8BA9C6206}" type="parTrans" cxnId="{2707B6D0-EFD7-4A05-806D-72F6BFF5C8D7}">
      <dgm:prSet/>
      <dgm:spPr/>
      <dgm:t>
        <a:bodyPr/>
        <a:lstStyle/>
        <a:p>
          <a:endParaRPr lang="en-US"/>
        </a:p>
      </dgm:t>
    </dgm:pt>
    <dgm:pt modelId="{01B81422-57FB-4DD3-B40E-1354EF0ED623}" type="sibTrans" cxnId="{2707B6D0-EFD7-4A05-806D-72F6BFF5C8D7}">
      <dgm:prSet/>
      <dgm:spPr/>
      <dgm:t>
        <a:bodyPr/>
        <a:lstStyle/>
        <a:p>
          <a:endParaRPr lang="en-US"/>
        </a:p>
      </dgm:t>
    </dgm:pt>
    <dgm:pt modelId="{1A1FE6C4-95E9-4FAE-A2E2-8A96E2FB33D7}">
      <dgm:prSet phldrT="[Text]" custT="1"/>
      <dgm:spPr/>
      <dgm:t>
        <a:bodyPr/>
        <a:lstStyle/>
        <a:p>
          <a:r>
            <a:rPr lang="en-US" sz="1000" dirty="0" smtClean="0"/>
            <a:t>Workforce Management</a:t>
          </a:r>
        </a:p>
      </dgm:t>
    </dgm:pt>
    <dgm:pt modelId="{DE6B417D-75EC-4078-9EF8-0C68E33522DF}" type="parTrans" cxnId="{A92E2345-0EB3-41F7-8551-1740033178B1}">
      <dgm:prSet/>
      <dgm:spPr/>
      <dgm:t>
        <a:bodyPr/>
        <a:lstStyle/>
        <a:p>
          <a:endParaRPr lang="en-US"/>
        </a:p>
      </dgm:t>
    </dgm:pt>
    <dgm:pt modelId="{26792D3D-E569-4C7F-924F-3F089E69CFF2}" type="sibTrans" cxnId="{A92E2345-0EB3-41F7-8551-1740033178B1}">
      <dgm:prSet/>
      <dgm:spPr/>
      <dgm:t>
        <a:bodyPr/>
        <a:lstStyle/>
        <a:p>
          <a:endParaRPr lang="en-US"/>
        </a:p>
      </dgm:t>
    </dgm:pt>
    <dgm:pt modelId="{8D784B8F-5126-420A-8174-2F634CBC7EAA}">
      <dgm:prSet phldrT="[Text]" custT="1"/>
      <dgm:spPr/>
      <dgm:t>
        <a:bodyPr/>
        <a:lstStyle/>
        <a:p>
          <a:r>
            <a:rPr lang="en-US" sz="1000" dirty="0" smtClean="0"/>
            <a:t>Payroll</a:t>
          </a:r>
        </a:p>
      </dgm:t>
    </dgm:pt>
    <dgm:pt modelId="{BBD81610-46C7-4909-A5C4-65E39BE7894B}" type="parTrans" cxnId="{EF0AE6FB-ABCF-492A-ADE7-A9CE761EA7A9}">
      <dgm:prSet/>
      <dgm:spPr/>
      <dgm:t>
        <a:bodyPr/>
        <a:lstStyle/>
        <a:p>
          <a:endParaRPr lang="en-US"/>
        </a:p>
      </dgm:t>
    </dgm:pt>
    <dgm:pt modelId="{27170D9A-0BB5-4882-B41F-EEF4EF9B4A8F}" type="sibTrans" cxnId="{EF0AE6FB-ABCF-492A-ADE7-A9CE761EA7A9}">
      <dgm:prSet/>
      <dgm:spPr/>
      <dgm:t>
        <a:bodyPr/>
        <a:lstStyle/>
        <a:p>
          <a:endParaRPr lang="en-US"/>
        </a:p>
      </dgm:t>
    </dgm:pt>
    <dgm:pt modelId="{E8F0F1B1-C2E1-44EF-A565-239B66837BAC}">
      <dgm:prSet phldrT="[Text]" custT="1"/>
      <dgm:spPr/>
      <dgm:t>
        <a:bodyPr/>
        <a:lstStyle/>
        <a:p>
          <a:pPr algn="r"/>
          <a:r>
            <a:rPr lang="en-US" sz="1000" b="0" i="0" u="none" strike="noStrike" dirty="0" smtClean="0">
              <a:solidFill>
                <a:srgbClr val="000000"/>
              </a:solidFill>
              <a:latin typeface="Arial"/>
            </a:rPr>
            <a:t>Management Dashboard</a:t>
          </a:r>
        </a:p>
      </dgm:t>
    </dgm:pt>
    <dgm:pt modelId="{164659A7-C97E-4C68-A5D7-BDA5F72FE26F}" type="parTrans" cxnId="{418AB416-5725-40AC-AA45-8F9B40AE7293}">
      <dgm:prSet/>
      <dgm:spPr/>
      <dgm:t>
        <a:bodyPr/>
        <a:lstStyle/>
        <a:p>
          <a:endParaRPr lang="en-US"/>
        </a:p>
      </dgm:t>
    </dgm:pt>
    <dgm:pt modelId="{591E0987-E25B-4AD0-B288-B31C847213F1}" type="sibTrans" cxnId="{418AB416-5725-40AC-AA45-8F9B40AE7293}">
      <dgm:prSet/>
      <dgm:spPr/>
      <dgm:t>
        <a:bodyPr/>
        <a:lstStyle/>
        <a:p>
          <a:endParaRPr lang="en-US"/>
        </a:p>
      </dgm:t>
    </dgm:pt>
    <dgm:pt modelId="{834E2102-E101-4B40-9828-53E274513790}">
      <dgm:prSet phldrT="[Text]" custT="1"/>
      <dgm:spPr/>
      <dgm:t>
        <a:bodyPr/>
        <a:lstStyle/>
        <a:p>
          <a:pPr algn="r"/>
          <a:r>
            <a:rPr lang="en-US" sz="1000" b="0" i="0" u="none" strike="noStrike" dirty="0" smtClean="0">
              <a:solidFill>
                <a:srgbClr val="000000"/>
              </a:solidFill>
              <a:latin typeface="Arial"/>
            </a:rPr>
            <a:t>Health &amp; Safety Compliance</a:t>
          </a:r>
        </a:p>
      </dgm:t>
    </dgm:pt>
    <dgm:pt modelId="{4324DF25-3690-4A21-92A4-B6EB533B54D8}" type="parTrans" cxnId="{97928E9E-1EF1-4E2D-9FB4-B8D6FF2F880E}">
      <dgm:prSet/>
      <dgm:spPr/>
      <dgm:t>
        <a:bodyPr/>
        <a:lstStyle/>
        <a:p>
          <a:endParaRPr lang="en-US"/>
        </a:p>
      </dgm:t>
    </dgm:pt>
    <dgm:pt modelId="{E5E2201D-FA62-4FF7-822B-A67EA003EFFB}" type="sibTrans" cxnId="{97928E9E-1EF1-4E2D-9FB4-B8D6FF2F880E}">
      <dgm:prSet/>
      <dgm:spPr/>
      <dgm:t>
        <a:bodyPr/>
        <a:lstStyle/>
        <a:p>
          <a:endParaRPr lang="en-US"/>
        </a:p>
      </dgm:t>
    </dgm:pt>
    <dgm:pt modelId="{DE8061DA-AF60-43EB-A965-189ED77CB481}">
      <dgm:prSet phldrT="[Text]" custT="1"/>
      <dgm:spPr/>
      <dgm:t>
        <a:bodyPr/>
        <a:lstStyle/>
        <a:p>
          <a:pPr algn="r"/>
          <a:r>
            <a:rPr lang="en-US" sz="1000" b="0" i="0" u="none" strike="noStrike" dirty="0" smtClean="0">
              <a:solidFill>
                <a:srgbClr val="000000"/>
              </a:solidFill>
              <a:latin typeface="Arial"/>
            </a:rPr>
            <a:t>Document Management</a:t>
          </a:r>
        </a:p>
      </dgm:t>
    </dgm:pt>
    <dgm:pt modelId="{8351201C-509E-4F4E-ACB7-F252F6A28C93}" type="parTrans" cxnId="{63063D33-077B-43A5-885C-6D3F65DF0958}">
      <dgm:prSet/>
      <dgm:spPr/>
      <dgm:t>
        <a:bodyPr/>
        <a:lstStyle/>
        <a:p>
          <a:endParaRPr lang="en-US"/>
        </a:p>
      </dgm:t>
    </dgm:pt>
    <dgm:pt modelId="{CFDEC338-CDB7-4D61-838B-3395D40C5478}" type="sibTrans" cxnId="{63063D33-077B-43A5-885C-6D3F65DF0958}">
      <dgm:prSet/>
      <dgm:spPr/>
      <dgm:t>
        <a:bodyPr/>
        <a:lstStyle/>
        <a:p>
          <a:endParaRPr lang="en-US"/>
        </a:p>
      </dgm:t>
    </dgm:pt>
    <dgm:pt modelId="{72CCA3D4-026B-439E-8B42-14DE189547DE}">
      <dgm:prSet phldrT="[Text]" custT="1"/>
      <dgm:spPr/>
      <dgm:t>
        <a:bodyPr/>
        <a:lstStyle/>
        <a:p>
          <a:pPr algn="r"/>
          <a:r>
            <a:rPr lang="en-US" sz="1000" b="0" i="0" u="none" strike="noStrike" dirty="0" smtClean="0">
              <a:solidFill>
                <a:srgbClr val="000000"/>
              </a:solidFill>
              <a:latin typeface="Arial"/>
            </a:rPr>
            <a:t>Portal</a:t>
          </a:r>
        </a:p>
      </dgm:t>
    </dgm:pt>
    <dgm:pt modelId="{C056153C-7100-40E2-A227-9B5957A34F30}" type="parTrans" cxnId="{42114DED-AFDB-4853-ABCF-2B67E909509E}">
      <dgm:prSet/>
      <dgm:spPr/>
      <dgm:t>
        <a:bodyPr/>
        <a:lstStyle/>
        <a:p>
          <a:endParaRPr lang="en-US"/>
        </a:p>
      </dgm:t>
    </dgm:pt>
    <dgm:pt modelId="{62007E1C-9FAB-4FA7-8D36-0841D83549C1}" type="sibTrans" cxnId="{42114DED-AFDB-4853-ABCF-2B67E909509E}">
      <dgm:prSet/>
      <dgm:spPr/>
      <dgm:t>
        <a:bodyPr/>
        <a:lstStyle/>
        <a:p>
          <a:endParaRPr lang="en-US"/>
        </a:p>
      </dgm:t>
    </dgm:pt>
    <dgm:pt modelId="{9E2385EC-E1F5-4A55-89DB-ECCE13E25BCA}">
      <dgm:prSet phldrT="[Text]" custT="1"/>
      <dgm:spPr/>
      <dgm:t>
        <a:bodyPr/>
        <a:lstStyle/>
        <a:p>
          <a:pPr algn="r"/>
          <a:r>
            <a:rPr lang="en-US" sz="1000" b="0" i="0" u="none" strike="noStrike" smtClean="0">
              <a:solidFill>
                <a:srgbClr val="000000"/>
              </a:solidFill>
              <a:latin typeface="Arial"/>
            </a:rPr>
            <a:t>Workflow</a:t>
          </a:r>
          <a:endParaRPr lang="en-US" sz="1000" b="0" i="0" u="none" strike="noStrike" dirty="0" smtClean="0">
            <a:solidFill>
              <a:srgbClr val="000000"/>
            </a:solidFill>
            <a:latin typeface="Arial"/>
          </a:endParaRPr>
        </a:p>
      </dgm:t>
    </dgm:pt>
    <dgm:pt modelId="{944ABAC1-E5C1-402B-9ECE-64BEACA93232}" type="parTrans" cxnId="{EC46F06E-37F8-475B-A811-818B4932052B}">
      <dgm:prSet/>
      <dgm:spPr/>
      <dgm:t>
        <a:bodyPr/>
        <a:lstStyle/>
        <a:p>
          <a:endParaRPr lang="en-US"/>
        </a:p>
      </dgm:t>
    </dgm:pt>
    <dgm:pt modelId="{FEB363BB-B7DC-4382-87F0-DC00ABE2B95F}" type="sibTrans" cxnId="{EC46F06E-37F8-475B-A811-818B4932052B}">
      <dgm:prSet/>
      <dgm:spPr/>
      <dgm:t>
        <a:bodyPr/>
        <a:lstStyle/>
        <a:p>
          <a:endParaRPr lang="en-US"/>
        </a:p>
      </dgm:t>
    </dgm:pt>
    <dgm:pt modelId="{37C2C6DD-ADF7-4DE7-B7E4-C4D6C240F8EE}">
      <dgm:prSet phldrT="[Text]" custT="1"/>
      <dgm:spPr/>
      <dgm:t>
        <a:bodyPr/>
        <a:lstStyle/>
        <a:p>
          <a:pPr algn="r"/>
          <a:endParaRPr lang="en-US" sz="1000" b="0" i="0" u="none" strike="noStrike" dirty="0" smtClean="0">
            <a:solidFill>
              <a:srgbClr val="000000"/>
            </a:solidFill>
            <a:latin typeface="Arial"/>
          </a:endParaRPr>
        </a:p>
      </dgm:t>
    </dgm:pt>
    <dgm:pt modelId="{A0F2DEB2-8200-4774-ACDA-262555C1D2B9}" type="parTrans" cxnId="{0388B22B-767C-4283-8DBA-E4683E5AC435}">
      <dgm:prSet/>
      <dgm:spPr/>
      <dgm:t>
        <a:bodyPr/>
        <a:lstStyle/>
        <a:p>
          <a:endParaRPr lang="en-US"/>
        </a:p>
      </dgm:t>
    </dgm:pt>
    <dgm:pt modelId="{33C57B8D-6A4B-4FE7-AD3C-C80207CFC890}" type="sibTrans" cxnId="{0388B22B-767C-4283-8DBA-E4683E5AC435}">
      <dgm:prSet/>
      <dgm:spPr/>
      <dgm:t>
        <a:bodyPr/>
        <a:lstStyle/>
        <a:p>
          <a:endParaRPr lang="en-US"/>
        </a:p>
      </dgm:t>
    </dgm:pt>
    <dgm:pt modelId="{ACD1EE5C-DC3E-4138-A415-901A1DE3951C}">
      <dgm:prSet phldrT="[Text]" custT="1"/>
      <dgm:spPr/>
      <dgm:t>
        <a:bodyPr/>
        <a:lstStyle/>
        <a:p>
          <a:pPr algn="r"/>
          <a:endParaRPr lang="en-US" sz="1000" b="0" i="0" u="none" strike="noStrike" dirty="0" smtClean="0">
            <a:solidFill>
              <a:srgbClr val="000000"/>
            </a:solidFill>
            <a:latin typeface="Arial"/>
          </a:endParaRPr>
        </a:p>
      </dgm:t>
    </dgm:pt>
    <dgm:pt modelId="{03493447-747B-4AFC-B201-541A07798D64}" type="parTrans" cxnId="{141A9F74-805F-4FC2-9105-7F45633F33B2}">
      <dgm:prSet/>
      <dgm:spPr/>
      <dgm:t>
        <a:bodyPr/>
        <a:lstStyle/>
        <a:p>
          <a:endParaRPr lang="en-US"/>
        </a:p>
      </dgm:t>
    </dgm:pt>
    <dgm:pt modelId="{F0173492-F198-4EF1-B7E1-8291212883A7}" type="sibTrans" cxnId="{141A9F74-805F-4FC2-9105-7F45633F33B2}">
      <dgm:prSet/>
      <dgm:spPr/>
      <dgm:t>
        <a:bodyPr/>
        <a:lstStyle/>
        <a:p>
          <a:endParaRPr lang="en-US"/>
        </a:p>
      </dgm:t>
    </dgm:pt>
    <dgm:pt modelId="{CEC5FB46-35D8-4956-8E19-2E6562583D9B}">
      <dgm:prSet phldrT="[Text]" custT="1"/>
      <dgm:spPr/>
      <dgm:t>
        <a:bodyPr/>
        <a:lstStyle/>
        <a:p>
          <a:pPr algn="r"/>
          <a:endParaRPr lang="en-US" sz="1000" b="0" i="0" u="none" strike="noStrike" dirty="0" smtClean="0">
            <a:solidFill>
              <a:srgbClr val="000000"/>
            </a:solidFill>
            <a:latin typeface="Arial"/>
          </a:endParaRPr>
        </a:p>
      </dgm:t>
    </dgm:pt>
    <dgm:pt modelId="{E14E3F45-42CB-445D-886D-F87ED45FA8C8}" type="parTrans" cxnId="{A40ADF87-C030-4883-ACCF-EA5C17A9820A}">
      <dgm:prSet/>
      <dgm:spPr/>
      <dgm:t>
        <a:bodyPr/>
        <a:lstStyle/>
        <a:p>
          <a:endParaRPr lang="en-US"/>
        </a:p>
      </dgm:t>
    </dgm:pt>
    <dgm:pt modelId="{8A9337E2-F280-47BF-90DD-993D8AF63ED9}" type="sibTrans" cxnId="{A40ADF87-C030-4883-ACCF-EA5C17A9820A}">
      <dgm:prSet/>
      <dgm:spPr/>
      <dgm:t>
        <a:bodyPr/>
        <a:lstStyle/>
        <a:p>
          <a:endParaRPr lang="en-US"/>
        </a:p>
      </dgm:t>
    </dgm:pt>
    <dgm:pt modelId="{8622AD36-7042-4D11-B90C-67F9899B4752}">
      <dgm:prSet phldrT="[Text]" custT="1"/>
      <dgm:spPr/>
      <dgm:t>
        <a:bodyPr/>
        <a:lstStyle/>
        <a:p>
          <a:pPr algn="r"/>
          <a:endParaRPr lang="en-US" sz="1000" b="0" i="0" u="none" strike="noStrike" dirty="0" smtClean="0">
            <a:solidFill>
              <a:srgbClr val="000000"/>
            </a:solidFill>
            <a:latin typeface="Arial"/>
          </a:endParaRPr>
        </a:p>
      </dgm:t>
    </dgm:pt>
    <dgm:pt modelId="{27837B03-D35F-4704-91E7-150A4073921B}" type="parTrans" cxnId="{6D5BE8FE-CDCF-4576-A3AF-FB0455AE07D2}">
      <dgm:prSet/>
      <dgm:spPr/>
      <dgm:t>
        <a:bodyPr/>
        <a:lstStyle/>
        <a:p>
          <a:endParaRPr lang="en-US"/>
        </a:p>
      </dgm:t>
    </dgm:pt>
    <dgm:pt modelId="{C7128D7C-1DC5-47AC-989D-B2C6C5E2FDCA}" type="sibTrans" cxnId="{6D5BE8FE-CDCF-4576-A3AF-FB0455AE07D2}">
      <dgm:prSet/>
      <dgm:spPr/>
      <dgm:t>
        <a:bodyPr/>
        <a:lstStyle/>
        <a:p>
          <a:endParaRPr lang="en-US"/>
        </a:p>
      </dgm:t>
    </dgm:pt>
    <dgm:pt modelId="{43A6B5D0-AC2D-45BF-9E18-D74693E885DA}">
      <dgm:prSet phldrT="[Text]" custT="1"/>
      <dgm:spPr/>
      <dgm:t>
        <a:bodyPr/>
        <a:lstStyle/>
        <a:p>
          <a:pPr algn="r"/>
          <a:endParaRPr lang="en-US" sz="1000" b="0" i="0" u="none" strike="noStrike" dirty="0" smtClean="0">
            <a:solidFill>
              <a:srgbClr val="000000"/>
            </a:solidFill>
            <a:latin typeface="Arial"/>
          </a:endParaRPr>
        </a:p>
      </dgm:t>
    </dgm:pt>
    <dgm:pt modelId="{AF19A931-2B2D-48ED-A269-7FE394DE723B}" type="parTrans" cxnId="{41F6A3DF-A6EA-4DA8-932A-EA778E052EEE}">
      <dgm:prSet/>
      <dgm:spPr/>
      <dgm:t>
        <a:bodyPr/>
        <a:lstStyle/>
        <a:p>
          <a:endParaRPr lang="en-US"/>
        </a:p>
      </dgm:t>
    </dgm:pt>
    <dgm:pt modelId="{83BA5569-E878-463A-AD8B-13DFD22FB96C}" type="sibTrans" cxnId="{41F6A3DF-A6EA-4DA8-932A-EA778E052EEE}">
      <dgm:prSet/>
      <dgm:spPr/>
      <dgm:t>
        <a:bodyPr/>
        <a:lstStyle/>
        <a:p>
          <a:endParaRPr lang="en-US"/>
        </a:p>
      </dgm:t>
    </dgm:pt>
    <dgm:pt modelId="{5C85218F-9D48-4922-8B5E-3BC17F8F405C}">
      <dgm:prSet phldrT="[Text]" custT="1"/>
      <dgm:spPr/>
      <dgm:t>
        <a:bodyPr/>
        <a:lstStyle/>
        <a:p>
          <a:pPr algn="r"/>
          <a:endParaRPr lang="en-US" sz="1000" b="0" i="0" u="none" strike="noStrike" dirty="0" smtClean="0">
            <a:solidFill>
              <a:srgbClr val="000000"/>
            </a:solidFill>
            <a:latin typeface="Arial"/>
          </a:endParaRPr>
        </a:p>
      </dgm:t>
    </dgm:pt>
    <dgm:pt modelId="{233793FC-8388-4B11-BD12-F90F57CC4F98}" type="parTrans" cxnId="{DA9B124B-5545-4D35-AC4E-61B5D039037C}">
      <dgm:prSet/>
      <dgm:spPr/>
      <dgm:t>
        <a:bodyPr/>
        <a:lstStyle/>
        <a:p>
          <a:endParaRPr lang="en-US"/>
        </a:p>
      </dgm:t>
    </dgm:pt>
    <dgm:pt modelId="{1FAC5B78-0A57-439E-BBD5-DF7C4F1D0A75}" type="sibTrans" cxnId="{DA9B124B-5545-4D35-AC4E-61B5D039037C}">
      <dgm:prSet/>
      <dgm:spPr/>
      <dgm:t>
        <a:bodyPr/>
        <a:lstStyle/>
        <a:p>
          <a:endParaRPr lang="en-US"/>
        </a:p>
      </dgm:t>
    </dgm:pt>
    <dgm:pt modelId="{4E9DE698-4092-48A6-9AFA-42424A08628F}">
      <dgm:prSet phldrT="[Text]" custT="1"/>
      <dgm:spPr/>
      <dgm:t>
        <a:bodyPr/>
        <a:lstStyle/>
        <a:p>
          <a:pPr algn="r"/>
          <a:endParaRPr lang="en-US" sz="1000" b="0" i="0" u="none" strike="noStrike" dirty="0" smtClean="0">
            <a:solidFill>
              <a:srgbClr val="000000"/>
            </a:solidFill>
            <a:latin typeface="Arial"/>
          </a:endParaRPr>
        </a:p>
      </dgm:t>
    </dgm:pt>
    <dgm:pt modelId="{80BA7D01-1C08-4579-9144-5EE8ABF50D19}" type="parTrans" cxnId="{4830EFB4-0C7B-4441-A925-2E162D83EF2C}">
      <dgm:prSet/>
      <dgm:spPr/>
      <dgm:t>
        <a:bodyPr/>
        <a:lstStyle/>
        <a:p>
          <a:endParaRPr lang="en-US"/>
        </a:p>
      </dgm:t>
    </dgm:pt>
    <dgm:pt modelId="{3F58AF16-2942-4B8B-80A3-D5422A840374}" type="sibTrans" cxnId="{4830EFB4-0C7B-4441-A925-2E162D83EF2C}">
      <dgm:prSet/>
      <dgm:spPr/>
      <dgm:t>
        <a:bodyPr/>
        <a:lstStyle/>
        <a:p>
          <a:endParaRPr lang="en-US"/>
        </a:p>
      </dgm:t>
    </dgm:pt>
    <dgm:pt modelId="{5573423A-907C-4D11-9BB1-49CD22F71372}">
      <dgm:prSet phldrT="[Text]" custT="1"/>
      <dgm:spPr/>
      <dgm:t>
        <a:bodyPr/>
        <a:lstStyle/>
        <a:p>
          <a:endParaRPr lang="en-US" sz="1000" dirty="0"/>
        </a:p>
      </dgm:t>
    </dgm:pt>
    <dgm:pt modelId="{DFB64A16-9DF4-4FFF-944E-D9380726A15A}" type="parTrans" cxnId="{6BF9AC89-E58D-4A23-BF75-F11EAE465954}">
      <dgm:prSet/>
      <dgm:spPr/>
      <dgm:t>
        <a:bodyPr/>
        <a:lstStyle/>
        <a:p>
          <a:endParaRPr lang="en-US"/>
        </a:p>
      </dgm:t>
    </dgm:pt>
    <dgm:pt modelId="{7073B523-5E2E-4279-A63C-4D63759CB61D}" type="sibTrans" cxnId="{6BF9AC89-E58D-4A23-BF75-F11EAE465954}">
      <dgm:prSet/>
      <dgm:spPr/>
      <dgm:t>
        <a:bodyPr/>
        <a:lstStyle/>
        <a:p>
          <a:endParaRPr lang="en-US"/>
        </a:p>
      </dgm:t>
    </dgm:pt>
    <dgm:pt modelId="{DFE12999-0A1B-457C-894B-D7AFF75EEA0F}">
      <dgm:prSet phldrT="[Text]" custT="1"/>
      <dgm:spPr/>
      <dgm:t>
        <a:bodyPr/>
        <a:lstStyle/>
        <a:p>
          <a:endParaRPr lang="en-US" sz="1000" dirty="0"/>
        </a:p>
      </dgm:t>
    </dgm:pt>
    <dgm:pt modelId="{FD7CFCB3-7F37-4F8E-BBA7-249DAA608DEE}" type="parTrans" cxnId="{16D141AE-1D26-43CD-94D8-A3AFD1C09B48}">
      <dgm:prSet/>
      <dgm:spPr/>
      <dgm:t>
        <a:bodyPr/>
        <a:lstStyle/>
        <a:p>
          <a:endParaRPr lang="en-US"/>
        </a:p>
      </dgm:t>
    </dgm:pt>
    <dgm:pt modelId="{61FE3ECA-4327-440C-8FEA-A3A8FF67FC51}" type="sibTrans" cxnId="{16D141AE-1D26-43CD-94D8-A3AFD1C09B48}">
      <dgm:prSet/>
      <dgm:spPr/>
      <dgm:t>
        <a:bodyPr/>
        <a:lstStyle/>
        <a:p>
          <a:endParaRPr lang="en-US"/>
        </a:p>
      </dgm:t>
    </dgm:pt>
    <dgm:pt modelId="{447D02FC-413A-4483-8E1C-99419FA8A021}">
      <dgm:prSet phldrT="[Text]" custT="1"/>
      <dgm:spPr/>
      <dgm:t>
        <a:bodyPr/>
        <a:lstStyle/>
        <a:p>
          <a:pPr algn="r"/>
          <a:endParaRPr lang="en-US" sz="1000" b="0" dirty="0" smtClean="0"/>
        </a:p>
      </dgm:t>
    </dgm:pt>
    <dgm:pt modelId="{477869D0-3E1A-47C2-BB9D-5C37B6C600CD}" type="parTrans" cxnId="{07B4BE95-243D-455A-A2A0-5D4B9DE99971}">
      <dgm:prSet/>
      <dgm:spPr/>
      <dgm:t>
        <a:bodyPr/>
        <a:lstStyle/>
        <a:p>
          <a:endParaRPr lang="en-US"/>
        </a:p>
      </dgm:t>
    </dgm:pt>
    <dgm:pt modelId="{B2595F5B-B6A8-4EC7-A694-65AE9237F2F4}" type="sibTrans" cxnId="{07B4BE95-243D-455A-A2A0-5D4B9DE99971}">
      <dgm:prSet/>
      <dgm:spPr/>
      <dgm:t>
        <a:bodyPr/>
        <a:lstStyle/>
        <a:p>
          <a:endParaRPr lang="en-US"/>
        </a:p>
      </dgm:t>
    </dgm:pt>
    <dgm:pt modelId="{B6B81336-5957-4768-B7D5-392A6D7F1E4E}">
      <dgm:prSet phldrT="[Text]" custT="1"/>
      <dgm:spPr/>
      <dgm:t>
        <a:bodyPr/>
        <a:lstStyle/>
        <a:p>
          <a:pPr algn="r"/>
          <a:endParaRPr lang="en-US" sz="1000" b="0" dirty="0" smtClean="0"/>
        </a:p>
      </dgm:t>
    </dgm:pt>
    <dgm:pt modelId="{F60DD193-AD20-44C4-A3D7-0DF12840CF63}" type="parTrans" cxnId="{05366B12-F8E5-4D56-B42F-B10E96DD64C0}">
      <dgm:prSet/>
      <dgm:spPr/>
      <dgm:t>
        <a:bodyPr/>
        <a:lstStyle/>
        <a:p>
          <a:endParaRPr lang="en-US"/>
        </a:p>
      </dgm:t>
    </dgm:pt>
    <dgm:pt modelId="{A45FD37F-3869-4180-981F-86B593BDC2E7}" type="sibTrans" cxnId="{05366B12-F8E5-4D56-B42F-B10E96DD64C0}">
      <dgm:prSet/>
      <dgm:spPr/>
      <dgm:t>
        <a:bodyPr/>
        <a:lstStyle/>
        <a:p>
          <a:endParaRPr lang="en-US"/>
        </a:p>
      </dgm:t>
    </dgm:pt>
    <dgm:pt modelId="{40B6292E-EA4F-4434-B63D-409795C8687B}" type="pres">
      <dgm:prSet presAssocID="{C896C92E-EC10-40E6-9D98-FEEA2A2A476B}" presName="cycleMatrixDiagram" presStyleCnt="0">
        <dgm:presLayoutVars>
          <dgm:chMax val="1"/>
          <dgm:dir/>
          <dgm:animLvl val="lvl"/>
          <dgm:resizeHandles val="exact"/>
        </dgm:presLayoutVars>
      </dgm:prSet>
      <dgm:spPr/>
      <dgm:t>
        <a:bodyPr/>
        <a:lstStyle/>
        <a:p>
          <a:endParaRPr lang="en-US"/>
        </a:p>
      </dgm:t>
    </dgm:pt>
    <dgm:pt modelId="{57792491-F9A5-4997-8F62-C52596FDFFE0}" type="pres">
      <dgm:prSet presAssocID="{C896C92E-EC10-40E6-9D98-FEEA2A2A476B}" presName="children" presStyleCnt="0"/>
      <dgm:spPr/>
    </dgm:pt>
    <dgm:pt modelId="{19899A2F-FA78-4681-AC73-C26F6C9F9F63}" type="pres">
      <dgm:prSet presAssocID="{C896C92E-EC10-40E6-9D98-FEEA2A2A476B}" presName="child1group" presStyleCnt="0"/>
      <dgm:spPr/>
    </dgm:pt>
    <dgm:pt modelId="{17DEEC3E-2170-40C9-81FD-79BCCA6EBCDE}" type="pres">
      <dgm:prSet presAssocID="{C896C92E-EC10-40E6-9D98-FEEA2A2A476B}" presName="child1" presStyleLbl="bgAcc1" presStyleIdx="0" presStyleCnt="4" custScaleX="130498" custScaleY="121902" custLinFactNeighborX="-11986" custLinFactNeighborY="-925"/>
      <dgm:spPr/>
      <dgm:t>
        <a:bodyPr/>
        <a:lstStyle/>
        <a:p>
          <a:endParaRPr lang="en-US"/>
        </a:p>
      </dgm:t>
    </dgm:pt>
    <dgm:pt modelId="{1CECDBAE-83B2-44E4-A05F-196FA8B2107D}" type="pres">
      <dgm:prSet presAssocID="{C896C92E-EC10-40E6-9D98-FEEA2A2A476B}" presName="child1Text" presStyleLbl="bgAcc1" presStyleIdx="0" presStyleCnt="4">
        <dgm:presLayoutVars>
          <dgm:bulletEnabled val="1"/>
        </dgm:presLayoutVars>
      </dgm:prSet>
      <dgm:spPr/>
      <dgm:t>
        <a:bodyPr/>
        <a:lstStyle/>
        <a:p>
          <a:endParaRPr lang="en-US"/>
        </a:p>
      </dgm:t>
    </dgm:pt>
    <dgm:pt modelId="{527E3807-9438-4DC8-9BB1-4C4E18F0F894}" type="pres">
      <dgm:prSet presAssocID="{C896C92E-EC10-40E6-9D98-FEEA2A2A476B}" presName="child2group" presStyleCnt="0"/>
      <dgm:spPr/>
    </dgm:pt>
    <dgm:pt modelId="{2529453C-DB70-4653-8A6B-1AE853F3241C}" type="pres">
      <dgm:prSet presAssocID="{C896C92E-EC10-40E6-9D98-FEEA2A2A476B}" presName="child2" presStyleLbl="bgAcc1" presStyleIdx="1" presStyleCnt="4" custScaleX="148060" custScaleY="126454"/>
      <dgm:spPr/>
      <dgm:t>
        <a:bodyPr/>
        <a:lstStyle/>
        <a:p>
          <a:endParaRPr lang="en-US"/>
        </a:p>
      </dgm:t>
    </dgm:pt>
    <dgm:pt modelId="{7ECE1B07-B136-4926-BFE8-8F4439F820D8}" type="pres">
      <dgm:prSet presAssocID="{C896C92E-EC10-40E6-9D98-FEEA2A2A476B}" presName="child2Text" presStyleLbl="bgAcc1" presStyleIdx="1" presStyleCnt="4">
        <dgm:presLayoutVars>
          <dgm:bulletEnabled val="1"/>
        </dgm:presLayoutVars>
      </dgm:prSet>
      <dgm:spPr/>
      <dgm:t>
        <a:bodyPr/>
        <a:lstStyle/>
        <a:p>
          <a:endParaRPr lang="en-US"/>
        </a:p>
      </dgm:t>
    </dgm:pt>
    <dgm:pt modelId="{DF3107A1-0710-498A-A811-314A17E3A76F}" type="pres">
      <dgm:prSet presAssocID="{C896C92E-EC10-40E6-9D98-FEEA2A2A476B}" presName="child3group" presStyleCnt="0"/>
      <dgm:spPr/>
    </dgm:pt>
    <dgm:pt modelId="{CEC32964-7AF6-4878-B658-1C757D31576B}" type="pres">
      <dgm:prSet presAssocID="{C896C92E-EC10-40E6-9D98-FEEA2A2A476B}" presName="child3" presStyleLbl="bgAcc1" presStyleIdx="2" presStyleCnt="4" custScaleX="151061" custScaleY="104214" custLinFactNeighborX="1737" custLinFactNeighborY="-13406"/>
      <dgm:spPr/>
      <dgm:t>
        <a:bodyPr/>
        <a:lstStyle/>
        <a:p>
          <a:endParaRPr lang="en-US"/>
        </a:p>
      </dgm:t>
    </dgm:pt>
    <dgm:pt modelId="{D9BF6DA1-87C2-4839-A59D-5D28D783367B}" type="pres">
      <dgm:prSet presAssocID="{C896C92E-EC10-40E6-9D98-FEEA2A2A476B}" presName="child3Text" presStyleLbl="bgAcc1" presStyleIdx="2" presStyleCnt="4">
        <dgm:presLayoutVars>
          <dgm:bulletEnabled val="1"/>
        </dgm:presLayoutVars>
      </dgm:prSet>
      <dgm:spPr/>
      <dgm:t>
        <a:bodyPr/>
        <a:lstStyle/>
        <a:p>
          <a:endParaRPr lang="en-US"/>
        </a:p>
      </dgm:t>
    </dgm:pt>
    <dgm:pt modelId="{887F96B3-366F-4278-B393-45BB9CCB5247}" type="pres">
      <dgm:prSet presAssocID="{C896C92E-EC10-40E6-9D98-FEEA2A2A476B}" presName="child4group" presStyleCnt="0"/>
      <dgm:spPr/>
    </dgm:pt>
    <dgm:pt modelId="{521B4074-2C5D-4487-8A09-3E5513E7584C}" type="pres">
      <dgm:prSet presAssocID="{C896C92E-EC10-40E6-9D98-FEEA2A2A476B}" presName="child4" presStyleLbl="bgAcc1" presStyleIdx="3" presStyleCnt="4" custScaleX="136499" custLinFactNeighborX="1737" custLinFactNeighborY="-13406"/>
      <dgm:spPr/>
      <dgm:t>
        <a:bodyPr/>
        <a:lstStyle/>
        <a:p>
          <a:endParaRPr lang="en-US"/>
        </a:p>
      </dgm:t>
    </dgm:pt>
    <dgm:pt modelId="{FE587206-2C27-4346-9DFE-C18B85CD2486}" type="pres">
      <dgm:prSet presAssocID="{C896C92E-EC10-40E6-9D98-FEEA2A2A476B}" presName="child4Text" presStyleLbl="bgAcc1" presStyleIdx="3" presStyleCnt="4">
        <dgm:presLayoutVars>
          <dgm:bulletEnabled val="1"/>
        </dgm:presLayoutVars>
      </dgm:prSet>
      <dgm:spPr/>
      <dgm:t>
        <a:bodyPr/>
        <a:lstStyle/>
        <a:p>
          <a:endParaRPr lang="en-US"/>
        </a:p>
      </dgm:t>
    </dgm:pt>
    <dgm:pt modelId="{DCD98BCC-CF47-4174-BFA6-29B7E9E29402}" type="pres">
      <dgm:prSet presAssocID="{C896C92E-EC10-40E6-9D98-FEEA2A2A476B}" presName="childPlaceholder" presStyleCnt="0"/>
      <dgm:spPr/>
    </dgm:pt>
    <dgm:pt modelId="{EAD51148-3D59-47DB-A014-670F15D5AE3B}" type="pres">
      <dgm:prSet presAssocID="{C896C92E-EC10-40E6-9D98-FEEA2A2A476B}" presName="circle" presStyleCnt="0"/>
      <dgm:spPr/>
    </dgm:pt>
    <dgm:pt modelId="{D929DA09-2E7F-48AA-9BAE-259F65F6EB26}" type="pres">
      <dgm:prSet presAssocID="{C896C92E-EC10-40E6-9D98-FEEA2A2A476B}" presName="quadrant1" presStyleLbl="node1" presStyleIdx="0" presStyleCnt="4" custScaleX="67679" custScaleY="69046" custLinFactNeighborX="16409" custLinFactNeighborY="11623">
        <dgm:presLayoutVars>
          <dgm:chMax val="1"/>
          <dgm:bulletEnabled val="1"/>
        </dgm:presLayoutVars>
      </dgm:prSet>
      <dgm:spPr/>
      <dgm:t>
        <a:bodyPr/>
        <a:lstStyle/>
        <a:p>
          <a:endParaRPr lang="en-US"/>
        </a:p>
      </dgm:t>
    </dgm:pt>
    <dgm:pt modelId="{DAC7AC0A-0198-4B61-B257-DCB9307EDD36}" type="pres">
      <dgm:prSet presAssocID="{C896C92E-EC10-40E6-9D98-FEEA2A2A476B}" presName="quadrant2" presStyleLbl="node1" presStyleIdx="1" presStyleCnt="4" custScaleX="66312" custScaleY="70433" custLinFactNeighborX="-18460" custLinFactNeighborY="11623">
        <dgm:presLayoutVars>
          <dgm:chMax val="1"/>
          <dgm:bulletEnabled val="1"/>
        </dgm:presLayoutVars>
      </dgm:prSet>
      <dgm:spPr/>
      <dgm:t>
        <a:bodyPr/>
        <a:lstStyle/>
        <a:p>
          <a:endParaRPr lang="en-US"/>
        </a:p>
      </dgm:t>
    </dgm:pt>
    <dgm:pt modelId="{45AF4476-A9FD-47BA-B30C-17E0105A9BFF}" type="pres">
      <dgm:prSet presAssocID="{C896C92E-EC10-40E6-9D98-FEEA2A2A476B}" presName="quadrant3" presStyleLbl="node1" presStyleIdx="2" presStyleCnt="4" custScaleX="66311" custScaleY="66311" custLinFactNeighborX="-17776" custLinFactNeighborY="-21195">
        <dgm:presLayoutVars>
          <dgm:chMax val="1"/>
          <dgm:bulletEnabled val="1"/>
        </dgm:presLayoutVars>
      </dgm:prSet>
      <dgm:spPr/>
      <dgm:t>
        <a:bodyPr/>
        <a:lstStyle/>
        <a:p>
          <a:endParaRPr lang="en-US"/>
        </a:p>
      </dgm:t>
    </dgm:pt>
    <dgm:pt modelId="{D8C5D740-E13F-4C3F-9D4B-0E9722CAF966}" type="pres">
      <dgm:prSet presAssocID="{C896C92E-EC10-40E6-9D98-FEEA2A2A476B}" presName="quadrant4" presStyleLbl="node1" presStyleIdx="3" presStyleCnt="4" custScaleX="67697" custScaleY="69065" custLinFactNeighborX="17094" custLinFactNeighborY="-21879">
        <dgm:presLayoutVars>
          <dgm:chMax val="1"/>
          <dgm:bulletEnabled val="1"/>
        </dgm:presLayoutVars>
      </dgm:prSet>
      <dgm:spPr/>
      <dgm:t>
        <a:bodyPr/>
        <a:lstStyle/>
        <a:p>
          <a:endParaRPr lang="en-US"/>
        </a:p>
      </dgm:t>
    </dgm:pt>
    <dgm:pt modelId="{2C61AF7B-2DE5-494D-8920-93F5B73FEE86}" type="pres">
      <dgm:prSet presAssocID="{C896C92E-EC10-40E6-9D98-FEEA2A2A476B}" presName="quadrantPlaceholder" presStyleCnt="0"/>
      <dgm:spPr/>
    </dgm:pt>
    <dgm:pt modelId="{153C7629-CD77-46CF-A67F-E573EB5474A0}" type="pres">
      <dgm:prSet presAssocID="{C896C92E-EC10-40E6-9D98-FEEA2A2A476B}" presName="center1" presStyleLbl="fgShp" presStyleIdx="0" presStyleCnt="2"/>
      <dgm:spPr/>
    </dgm:pt>
    <dgm:pt modelId="{A1DE6915-A8A4-4B11-9F03-18C339C14748}" type="pres">
      <dgm:prSet presAssocID="{C896C92E-EC10-40E6-9D98-FEEA2A2A476B}" presName="center2" presStyleLbl="fgShp" presStyleIdx="1" presStyleCnt="2"/>
      <dgm:spPr/>
    </dgm:pt>
  </dgm:ptLst>
  <dgm:cxnLst>
    <dgm:cxn modelId="{FD353786-20C3-4415-8741-279B4B998B71}" type="presOf" srcId="{72717EDD-65BA-49AD-B483-2980E7C32B56}" destId="{7ECE1B07-B136-4926-BFE8-8F4439F820D8}" srcOrd="1" destOrd="5" presId="urn:microsoft.com/office/officeart/2005/8/layout/cycle4"/>
    <dgm:cxn modelId="{34459D67-52F2-4710-90A7-6CA89768BF20}" type="presOf" srcId="{ACD1EE5C-DC3E-4138-A415-901A1DE3951C}" destId="{D9BF6DA1-87C2-4839-A59D-5D28D783367B}" srcOrd="1" destOrd="6" presId="urn:microsoft.com/office/officeart/2005/8/layout/cycle4"/>
    <dgm:cxn modelId="{4CA89A35-641B-430C-A987-75B12332955D}" type="presOf" srcId="{C67BDD4E-134C-4243-A166-BF1211161D57}" destId="{17DEEC3E-2170-40C9-81FD-79BCCA6EBCDE}" srcOrd="0" destOrd="11" presId="urn:microsoft.com/office/officeart/2005/8/layout/cycle4"/>
    <dgm:cxn modelId="{E59FE89C-6B27-4B12-8950-BF5D16368863}" type="presOf" srcId="{DE8061DA-AF60-43EB-A965-189ED77CB481}" destId="{CEC32964-7AF6-4878-B658-1C757D31576B}" srcOrd="0" destOrd="3" presId="urn:microsoft.com/office/officeart/2005/8/layout/cycle4"/>
    <dgm:cxn modelId="{D504707C-7B9B-4DBA-A7C4-DFDF70707666}" srcId="{DA972085-F5D4-4BBF-92EC-9AA47243E356}" destId="{032B69BD-CD12-417B-8171-185948D9DD64}" srcOrd="2" destOrd="0" parTransId="{E17F0033-ED29-47BD-9C8D-2335C5DD48C0}" sibTransId="{0DA1C0AA-5995-4BD0-B84E-D3C946A5CBBD}"/>
    <dgm:cxn modelId="{4DA13F4A-98C7-43FB-B6A0-4B9532235FB9}" type="presOf" srcId="{09C37AD6-A34B-4A63-87DE-3DDCEFF31F76}" destId="{D9BF6DA1-87C2-4839-A59D-5D28D783367B}" srcOrd="1" destOrd="0" presId="urn:microsoft.com/office/officeart/2005/8/layout/cycle4"/>
    <dgm:cxn modelId="{3D78EDC1-085E-4C8F-A0B1-CF0C09BF34D2}" type="presOf" srcId="{72EF54AA-9663-4474-9019-5821785BF55D}" destId="{7ECE1B07-B136-4926-BFE8-8F4439F820D8}" srcOrd="1" destOrd="8" presId="urn:microsoft.com/office/officeart/2005/8/layout/cycle4"/>
    <dgm:cxn modelId="{586E3F51-3489-4AE2-BBE3-ED7729146A5C}" type="presOf" srcId="{DFE12999-0A1B-457C-894B-D7AFF75EEA0F}" destId="{1CECDBAE-83B2-44E4-A05F-196FA8B2107D}" srcOrd="1" destOrd="1" presId="urn:microsoft.com/office/officeart/2005/8/layout/cycle4"/>
    <dgm:cxn modelId="{B04868A2-0961-430F-8F89-DE4393B3D49A}" type="presOf" srcId="{C2BF4554-6C1F-44DC-974A-426055137E19}" destId="{45AF4476-A9FD-47BA-B30C-17E0105A9BFF}" srcOrd="0" destOrd="0" presId="urn:microsoft.com/office/officeart/2005/8/layout/cycle4"/>
    <dgm:cxn modelId="{D7FA1126-AA80-47F5-8B10-9350D1B6AEA0}" type="presOf" srcId="{032B69BD-CD12-417B-8171-185948D9DD64}" destId="{7ECE1B07-B136-4926-BFE8-8F4439F820D8}" srcOrd="1" destOrd="2" presId="urn:microsoft.com/office/officeart/2005/8/layout/cycle4"/>
    <dgm:cxn modelId="{A3D4113B-B9F5-4CC2-9A17-01E867AE7011}" type="presOf" srcId="{E98115D8-FF15-4729-89D1-8D25AACD4AD5}" destId="{2529453C-DB70-4653-8A6B-1AE853F3241C}" srcOrd="0" destOrd="3" presId="urn:microsoft.com/office/officeart/2005/8/layout/cycle4"/>
    <dgm:cxn modelId="{141A9F74-805F-4FC2-9105-7F45633F33B2}" srcId="{C2BF4554-6C1F-44DC-974A-426055137E19}" destId="{ACD1EE5C-DC3E-4138-A415-901A1DE3951C}" srcOrd="6" destOrd="0" parTransId="{03493447-747B-4AFC-B201-541A07798D64}" sibTransId="{F0173492-F198-4EF1-B7E1-8291212883A7}"/>
    <dgm:cxn modelId="{D405B2A2-0895-4132-B074-E3EBE27009BD}" type="presOf" srcId="{1A1FE6C4-95E9-4FAE-A2E2-8A96E2FB33D7}" destId="{521B4074-2C5D-4487-8A09-3E5513E7584C}" srcOrd="0" destOrd="1" presId="urn:microsoft.com/office/officeart/2005/8/layout/cycle4"/>
    <dgm:cxn modelId="{F7B2FE5C-8E9D-4897-B825-47BC9019DB22}" srcId="{C896C92E-EC10-40E6-9D98-FEEA2A2A476B}" destId="{DA972085-F5D4-4BBF-92EC-9AA47243E356}" srcOrd="1" destOrd="0" parTransId="{0B63F0E0-6F1C-4151-8D00-2ED4DDB056B4}" sibTransId="{0ABD3E4D-FACD-4A7B-8D41-1FD66DD2C251}"/>
    <dgm:cxn modelId="{496B72DB-86D6-45C8-B8FE-901E08AA2341}" type="presOf" srcId="{8622AD36-7042-4D11-B90C-67F9899B4752}" destId="{D9BF6DA1-87C2-4839-A59D-5D28D783367B}" srcOrd="1" destOrd="8" presId="urn:microsoft.com/office/officeart/2005/8/layout/cycle4"/>
    <dgm:cxn modelId="{E22E18B9-1269-49AD-A8AC-4D382497E4ED}" type="presOf" srcId="{43A6B5D0-AC2D-45BF-9E18-D74693E885DA}" destId="{D9BF6DA1-87C2-4839-A59D-5D28D783367B}" srcOrd="1" destOrd="9" presId="urn:microsoft.com/office/officeart/2005/8/layout/cycle4"/>
    <dgm:cxn modelId="{A304F22E-1CFA-41D7-815B-D6D95C56B62D}" srcId="{A669D8A6-F353-4090-AE01-BFC8304164FE}" destId="{9C2D036F-BC0F-4297-B6A1-941776855725}" srcOrd="8" destOrd="0" parTransId="{548E7F19-E39F-403D-891D-B8368B34A437}" sibTransId="{D78E1379-DCB2-4C1E-9B0E-D907518DB8B1}"/>
    <dgm:cxn modelId="{069E1E2B-4E60-4A00-ADF9-00352CD0F73F}" type="presOf" srcId="{BC14B734-9B49-4A6D-B557-78438B728498}" destId="{1CECDBAE-83B2-44E4-A05F-196FA8B2107D}" srcOrd="1" destOrd="6" presId="urn:microsoft.com/office/officeart/2005/8/layout/cycle4"/>
    <dgm:cxn modelId="{D6054BF0-A068-4E7D-9AAB-EEB46E8FB403}" srcId="{C896C92E-EC10-40E6-9D98-FEEA2A2A476B}" destId="{C2BF4554-6C1F-44DC-974A-426055137E19}" srcOrd="2" destOrd="0" parTransId="{11E9B9F3-511C-4A96-A199-419CA4E7E0EA}" sibTransId="{C1536475-0FAA-4F6F-9A4A-960139774E26}"/>
    <dgm:cxn modelId="{281D6EE2-6852-4CBA-93A5-0E60D9A9D929}" type="presOf" srcId="{447D02FC-413A-4483-8E1C-99419FA8A021}" destId="{7ECE1B07-B136-4926-BFE8-8F4439F820D8}" srcOrd="1" destOrd="0" presId="urn:microsoft.com/office/officeart/2005/8/layout/cycle4"/>
    <dgm:cxn modelId="{A92E2345-0EB3-41F7-8551-1740033178B1}" srcId="{1A611383-3637-408A-B499-AFCC0186F8FD}" destId="{1A1FE6C4-95E9-4FAE-A2E2-8A96E2FB33D7}" srcOrd="1" destOrd="0" parTransId="{DE6B417D-75EC-4078-9EF8-0C68E33522DF}" sibTransId="{26792D3D-E569-4C7F-924F-3F089E69CFF2}"/>
    <dgm:cxn modelId="{F52EBAD3-B310-48AB-B73E-0FF14C29A3E1}" type="presOf" srcId="{E157E270-EE80-43C5-8063-0C3624B06CD8}" destId="{1CECDBAE-83B2-44E4-A05F-196FA8B2107D}" srcOrd="1" destOrd="12" presId="urn:microsoft.com/office/officeart/2005/8/layout/cycle4"/>
    <dgm:cxn modelId="{FE64D9EE-6376-411C-911C-B4C84E528235}" type="presOf" srcId="{E8F0F1B1-C2E1-44EF-A565-239B66837BAC}" destId="{CEC32964-7AF6-4878-B658-1C757D31576B}" srcOrd="0" destOrd="1" presId="urn:microsoft.com/office/officeart/2005/8/layout/cycle4"/>
    <dgm:cxn modelId="{0B81B0D5-8688-42AB-A8CB-96DA7CC44D53}" type="presOf" srcId="{ACD1EE5C-DC3E-4138-A415-901A1DE3951C}" destId="{CEC32964-7AF6-4878-B658-1C757D31576B}" srcOrd="0" destOrd="6" presId="urn:microsoft.com/office/officeart/2005/8/layout/cycle4"/>
    <dgm:cxn modelId="{DA9B124B-5545-4D35-AC4E-61B5D039037C}" srcId="{C2BF4554-6C1F-44DC-974A-426055137E19}" destId="{5C85218F-9D48-4922-8B5E-3BC17F8F405C}" srcOrd="10" destOrd="0" parTransId="{233793FC-8388-4B11-BD12-F90F57CC4F98}" sibTransId="{1FAC5B78-0A57-439E-BBD5-DF7C4F1D0A75}"/>
    <dgm:cxn modelId="{1F906A16-339B-46E8-81CB-05D09E06A60A}" type="presOf" srcId="{E7E9B13E-98F5-461F-B464-9AAC51766558}" destId="{7ECE1B07-B136-4926-BFE8-8F4439F820D8}" srcOrd="1" destOrd="9" presId="urn:microsoft.com/office/officeart/2005/8/layout/cycle4"/>
    <dgm:cxn modelId="{4DCE3B8D-91D6-4B34-9F1C-6F37CE63BCE8}" type="presOf" srcId="{C896C92E-EC10-40E6-9D98-FEEA2A2A476B}" destId="{40B6292E-EA4F-4434-B63D-409795C8687B}" srcOrd="0" destOrd="0" presId="urn:microsoft.com/office/officeart/2005/8/layout/cycle4"/>
    <dgm:cxn modelId="{9B497AF5-7068-47A1-98FA-83E7EA2FB609}" type="presOf" srcId="{9E2385EC-E1F5-4A55-89DB-ECCE13E25BCA}" destId="{CEC32964-7AF6-4878-B658-1C757D31576B}" srcOrd="0" destOrd="5" presId="urn:microsoft.com/office/officeart/2005/8/layout/cycle4"/>
    <dgm:cxn modelId="{E57AC14E-30DE-4461-AF8F-8030BF455FF4}" type="presOf" srcId="{37C2C6DD-ADF7-4DE7-B7E4-C4D6C240F8EE}" destId="{D9BF6DA1-87C2-4839-A59D-5D28D783367B}" srcOrd="1" destOrd="12" presId="urn:microsoft.com/office/officeart/2005/8/layout/cycle4"/>
    <dgm:cxn modelId="{962E5C27-1655-40C8-94AE-8F088A503A96}" type="presOf" srcId="{8622AD36-7042-4D11-B90C-67F9899B4752}" destId="{CEC32964-7AF6-4878-B658-1C757D31576B}" srcOrd="0" destOrd="8" presId="urn:microsoft.com/office/officeart/2005/8/layout/cycle4"/>
    <dgm:cxn modelId="{B531690C-6FE1-4828-A7E5-73027A115CD6}" type="presOf" srcId="{E7E9B13E-98F5-461F-B464-9AAC51766558}" destId="{2529453C-DB70-4653-8A6B-1AE853F3241C}" srcOrd="0" destOrd="9" presId="urn:microsoft.com/office/officeart/2005/8/layout/cycle4"/>
    <dgm:cxn modelId="{6BF9AC89-E58D-4A23-BF75-F11EAE465954}" srcId="{A669D8A6-F353-4090-AE01-BFC8304164FE}" destId="{5573423A-907C-4D11-9BB1-49CD22F71372}" srcOrd="0" destOrd="0" parTransId="{DFB64A16-9DF4-4FFF-944E-D9380726A15A}" sibTransId="{7073B523-5E2E-4279-A63C-4D63759CB61D}"/>
    <dgm:cxn modelId="{19DC7B54-F4C2-4182-984D-7454FA13C8BA}" type="presOf" srcId="{57739804-BD3D-45F6-AD80-F9EE96A52F3E}" destId="{FE587206-2C27-4346-9DFE-C18B85CD2486}" srcOrd="1" destOrd="0" presId="urn:microsoft.com/office/officeart/2005/8/layout/cycle4"/>
    <dgm:cxn modelId="{D04A7E4E-3A59-4AA2-A124-4460FBE1E4AC}" srcId="{DA972085-F5D4-4BBF-92EC-9AA47243E356}" destId="{0C1E61F2-5331-4757-BE51-FFA9FFB81438}" srcOrd="6" destOrd="0" parTransId="{D244642E-FAF4-4146-A55A-A304BADB2808}" sibTransId="{FAD1AC28-3A6C-474D-85C1-A865B1D3412B}"/>
    <dgm:cxn modelId="{8519D20B-D993-438A-9E3A-8233007DA3C7}" srcId="{A669D8A6-F353-4090-AE01-BFC8304164FE}" destId="{C0D9EB2A-4EBB-496C-8BAA-F0AF25FD05EE}" srcOrd="4" destOrd="0" parTransId="{2E93741B-8C62-4319-A04C-3B0B3E8EDD3C}" sibTransId="{433B1986-0DFA-4302-8083-E27CA8889461}"/>
    <dgm:cxn modelId="{2FBC02A2-8AEE-4386-890C-39FF3A14BE03}" type="presOf" srcId="{4E9DE698-4092-48A6-9AFA-42424A08628F}" destId="{D9BF6DA1-87C2-4839-A59D-5D28D783367B}" srcOrd="1" destOrd="11" presId="urn:microsoft.com/office/officeart/2005/8/layout/cycle4"/>
    <dgm:cxn modelId="{13ADC233-0959-438B-9328-DD5D2FB05EE6}" srcId="{1A611383-3637-408A-B499-AFCC0186F8FD}" destId="{57739804-BD3D-45F6-AD80-F9EE96A52F3E}" srcOrd="0" destOrd="0" parTransId="{487FD28C-029B-40F6-A5DC-6CB33CC7ABB0}" sibTransId="{33032399-9E2F-4E78-99EE-9D059B504D46}"/>
    <dgm:cxn modelId="{935D9332-E754-40DF-B13D-7AF4645A13D1}" type="presOf" srcId="{E173EDD6-3E96-4386-9E88-6329CC04EE39}" destId="{1CECDBAE-83B2-44E4-A05F-196FA8B2107D}" srcOrd="1" destOrd="5" presId="urn:microsoft.com/office/officeart/2005/8/layout/cycle4"/>
    <dgm:cxn modelId="{4830EFB4-0C7B-4441-A925-2E162D83EF2C}" srcId="{C2BF4554-6C1F-44DC-974A-426055137E19}" destId="{4E9DE698-4092-48A6-9AFA-42424A08628F}" srcOrd="11" destOrd="0" parTransId="{80BA7D01-1C08-4579-9144-5EE8ABF50D19}" sibTransId="{3F58AF16-2942-4B8B-80A3-D5422A840374}"/>
    <dgm:cxn modelId="{CD53ABA6-BD72-4B61-B029-02C8676C5705}" type="presOf" srcId="{72CCA3D4-026B-439E-8B42-14DE189547DE}" destId="{CEC32964-7AF6-4878-B658-1C757D31576B}" srcOrd="0" destOrd="4" presId="urn:microsoft.com/office/officeart/2005/8/layout/cycle4"/>
    <dgm:cxn modelId="{60E2E41B-6D86-4861-A9AC-AD8E541ACC54}" type="presOf" srcId="{09C37AD6-A34B-4A63-87DE-3DDCEFF31F76}" destId="{CEC32964-7AF6-4878-B658-1C757D31576B}" srcOrd="0" destOrd="0" presId="urn:microsoft.com/office/officeart/2005/8/layout/cycle4"/>
    <dgm:cxn modelId="{387EE2A5-C1AE-4F8E-9915-9076D8C8AB0B}" type="presOf" srcId="{5C85218F-9D48-4922-8B5E-3BC17F8F405C}" destId="{D9BF6DA1-87C2-4839-A59D-5D28D783367B}" srcOrd="1" destOrd="10" presId="urn:microsoft.com/office/officeart/2005/8/layout/cycle4"/>
    <dgm:cxn modelId="{3CB7E936-064D-44F6-8902-235D3998ACCE}" type="presOf" srcId="{0C0E8EEF-BADA-4DFC-A18C-759A0BDE2E6D}" destId="{1CECDBAE-83B2-44E4-A05F-196FA8B2107D}" srcOrd="1" destOrd="10" presId="urn:microsoft.com/office/officeart/2005/8/layout/cycle4"/>
    <dgm:cxn modelId="{EF0AE6FB-ABCF-492A-ADE7-A9CE761EA7A9}" srcId="{1A611383-3637-408A-B499-AFCC0186F8FD}" destId="{8D784B8F-5126-420A-8174-2F634CBC7EAA}" srcOrd="2" destOrd="0" parTransId="{BBD81610-46C7-4909-A5C4-65E39BE7894B}" sibTransId="{27170D9A-0BB5-4882-B41F-EEF4EF9B4A8F}"/>
    <dgm:cxn modelId="{490124A1-C0BF-4D23-B67E-EFE58B2D46E8}" type="presOf" srcId="{9E2385EC-E1F5-4A55-89DB-ECCE13E25BCA}" destId="{D9BF6DA1-87C2-4839-A59D-5D28D783367B}" srcOrd="1" destOrd="5" presId="urn:microsoft.com/office/officeart/2005/8/layout/cycle4"/>
    <dgm:cxn modelId="{703123E9-1D40-4F14-91B2-037FEF5961C2}" type="presOf" srcId="{43A6B5D0-AC2D-45BF-9E18-D74693E885DA}" destId="{CEC32964-7AF6-4878-B658-1C757D31576B}" srcOrd="0" destOrd="9" presId="urn:microsoft.com/office/officeart/2005/8/layout/cycle4"/>
    <dgm:cxn modelId="{C243558E-802D-4FA9-8C0D-1C6916395733}" srcId="{A669D8A6-F353-4090-AE01-BFC8304164FE}" destId="{5C338367-77E2-478D-8BE6-CA5EEA479702}" srcOrd="3" destOrd="0" parTransId="{8AA9BB7B-1D55-42D1-9F68-B5E5C0190C18}" sibTransId="{0340EA5E-454C-41FA-8919-A6CE517095BE}"/>
    <dgm:cxn modelId="{1D0689B3-FFDE-48CE-8E95-E86782F86786}" type="presOf" srcId="{BC14B734-9B49-4A6D-B557-78438B728498}" destId="{17DEEC3E-2170-40C9-81FD-79BCCA6EBCDE}" srcOrd="0" destOrd="6" presId="urn:microsoft.com/office/officeart/2005/8/layout/cycle4"/>
    <dgm:cxn modelId="{0388B22B-767C-4283-8DBA-E4683E5AC435}" srcId="{C2BF4554-6C1F-44DC-974A-426055137E19}" destId="{37C2C6DD-ADF7-4DE7-B7E4-C4D6C240F8EE}" srcOrd="12" destOrd="0" parTransId="{A0F2DEB2-8200-4774-ACDA-262555C1D2B9}" sibTransId="{33C57B8D-6A4B-4FE7-AD3C-C80207CFC890}"/>
    <dgm:cxn modelId="{0954AA03-9B28-492D-ACB8-5C681E23DE6F}" type="presOf" srcId="{72EF54AA-9663-4474-9019-5821785BF55D}" destId="{2529453C-DB70-4653-8A6B-1AE853F3241C}" srcOrd="0" destOrd="8" presId="urn:microsoft.com/office/officeart/2005/8/layout/cycle4"/>
    <dgm:cxn modelId="{07B4BE95-243D-455A-A2A0-5D4B9DE99971}" srcId="{DA972085-F5D4-4BBF-92EC-9AA47243E356}" destId="{447D02FC-413A-4483-8E1C-99419FA8A021}" srcOrd="0" destOrd="0" parTransId="{477869D0-3E1A-47C2-BB9D-5C37B6C600CD}" sibTransId="{B2595F5B-B6A8-4EC7-A694-65AE9237F2F4}"/>
    <dgm:cxn modelId="{0D18056C-E16B-4940-989F-944572F1F07D}" srcId="{DA972085-F5D4-4BBF-92EC-9AA47243E356}" destId="{72717EDD-65BA-49AD-B483-2980E7C32B56}" srcOrd="5" destOrd="0" parTransId="{5C25EBC3-1940-48A1-86F2-1DC7D97AE76F}" sibTransId="{A1F21EA0-4EDE-45AC-8435-9D48F60FA8C2}"/>
    <dgm:cxn modelId="{52C07C82-1450-4711-9C30-23374BE6D256}" type="presOf" srcId="{710B80A6-66C6-497B-935B-D1BDBE87D2D9}" destId="{1CECDBAE-83B2-44E4-A05F-196FA8B2107D}" srcOrd="1" destOrd="2" presId="urn:microsoft.com/office/officeart/2005/8/layout/cycle4"/>
    <dgm:cxn modelId="{41F6A3DF-A6EA-4DA8-932A-EA778E052EEE}" srcId="{C2BF4554-6C1F-44DC-974A-426055137E19}" destId="{43A6B5D0-AC2D-45BF-9E18-D74693E885DA}" srcOrd="9" destOrd="0" parTransId="{AF19A931-2B2D-48ED-A269-7FE394DE723B}" sibTransId="{83BA5569-E878-463A-AD8B-13DFD22FB96C}"/>
    <dgm:cxn modelId="{5413C519-42DF-49DD-A67C-910BE95B05CF}" srcId="{C896C92E-EC10-40E6-9D98-FEEA2A2A476B}" destId="{A669D8A6-F353-4090-AE01-BFC8304164FE}" srcOrd="0" destOrd="0" parTransId="{CF9A8DED-5AD6-4B90-A779-1D7D42C7874E}" sibTransId="{B81CAA55-69DE-46B9-8C59-058A136F4B0D}"/>
    <dgm:cxn modelId="{97928E9E-1EF1-4E2D-9FB4-B8D6FF2F880E}" srcId="{C2BF4554-6C1F-44DC-974A-426055137E19}" destId="{834E2102-E101-4B40-9828-53E274513790}" srcOrd="2" destOrd="0" parTransId="{4324DF25-3690-4A21-92A4-B6EB533B54D8}" sibTransId="{E5E2201D-FA62-4FF7-822B-A67EA003EFFB}"/>
    <dgm:cxn modelId="{D3A7EBEC-6DC2-469D-9058-553E782AF659}" srcId="{A669D8A6-F353-4090-AE01-BFC8304164FE}" destId="{710B80A6-66C6-497B-935B-D1BDBE87D2D9}" srcOrd="2" destOrd="0" parTransId="{57CF7407-8C14-4FD3-9685-BF81A960DEDA}" sibTransId="{040C9393-A557-4BB9-8709-DE3C90245B72}"/>
    <dgm:cxn modelId="{4AE76AF8-04F8-499F-AB15-428B83F3A15B}" srcId="{C2BF4554-6C1F-44DC-974A-426055137E19}" destId="{09C37AD6-A34B-4A63-87DE-3DDCEFF31F76}" srcOrd="0" destOrd="0" parTransId="{A31BD4E2-F3FC-4318-80AA-BCF4FB18F439}" sibTransId="{E2B9D4EE-5AFB-4209-B159-068818F9C2FB}"/>
    <dgm:cxn modelId="{925B591A-FA3A-47C1-B365-CB9231E1C221}" type="presOf" srcId="{834E2102-E101-4B40-9828-53E274513790}" destId="{CEC32964-7AF6-4878-B658-1C757D31576B}" srcOrd="0" destOrd="2" presId="urn:microsoft.com/office/officeart/2005/8/layout/cycle4"/>
    <dgm:cxn modelId="{CFE782E4-9C63-476B-B522-4C9344DC6633}" type="presOf" srcId="{03750B82-376F-487B-81FC-9CE48F8E4207}" destId="{1CECDBAE-83B2-44E4-A05F-196FA8B2107D}" srcOrd="1" destOrd="9" presId="urn:microsoft.com/office/officeart/2005/8/layout/cycle4"/>
    <dgm:cxn modelId="{30FFEB51-4E7F-4988-84FD-A8DDDD9BB2EE}" type="presOf" srcId="{03750B82-376F-487B-81FC-9CE48F8E4207}" destId="{17DEEC3E-2170-40C9-81FD-79BCCA6EBCDE}" srcOrd="0" destOrd="9" presId="urn:microsoft.com/office/officeart/2005/8/layout/cycle4"/>
    <dgm:cxn modelId="{55024014-3AEB-481A-B580-F47DAEBBA5B2}" type="presOf" srcId="{B6B81336-5957-4768-B7D5-392A6D7F1E4E}" destId="{7ECE1B07-B136-4926-BFE8-8F4439F820D8}" srcOrd="1" destOrd="1" presId="urn:microsoft.com/office/officeart/2005/8/layout/cycle4"/>
    <dgm:cxn modelId="{A40ADF87-C030-4883-ACCF-EA5C17A9820A}" srcId="{C2BF4554-6C1F-44DC-974A-426055137E19}" destId="{CEC5FB46-35D8-4956-8E19-2E6562583D9B}" srcOrd="7" destOrd="0" parTransId="{E14E3F45-42CB-445D-886D-F87ED45FA8C8}" sibTransId="{8A9337E2-F280-47BF-90DD-993D8AF63ED9}"/>
    <dgm:cxn modelId="{21DE5CF2-A441-4C65-8F7B-84D6238A70C5}" type="presOf" srcId="{1A1FE6C4-95E9-4FAE-A2E2-8A96E2FB33D7}" destId="{FE587206-2C27-4346-9DFE-C18B85CD2486}" srcOrd="1" destOrd="1" presId="urn:microsoft.com/office/officeart/2005/8/layout/cycle4"/>
    <dgm:cxn modelId="{BE9578A4-70C9-4FE8-8A60-EEB097AF30AB}" type="presOf" srcId="{834E2102-E101-4B40-9828-53E274513790}" destId="{D9BF6DA1-87C2-4839-A59D-5D28D783367B}" srcOrd="1" destOrd="2" presId="urn:microsoft.com/office/officeart/2005/8/layout/cycle4"/>
    <dgm:cxn modelId="{EFC7077D-B9B5-4EA3-B2CF-598854B76E24}" type="presOf" srcId="{5C338367-77E2-478D-8BE6-CA5EEA479702}" destId="{1CECDBAE-83B2-44E4-A05F-196FA8B2107D}" srcOrd="1" destOrd="3" presId="urn:microsoft.com/office/officeart/2005/8/layout/cycle4"/>
    <dgm:cxn modelId="{EBF32476-03B3-4267-AF07-6182004C432B}" type="presOf" srcId="{A669D8A6-F353-4090-AE01-BFC8304164FE}" destId="{D929DA09-2E7F-48AA-9BAE-259F65F6EB26}" srcOrd="0" destOrd="0" presId="urn:microsoft.com/office/officeart/2005/8/layout/cycle4"/>
    <dgm:cxn modelId="{EC46F06E-37F8-475B-A811-818B4932052B}" srcId="{C2BF4554-6C1F-44DC-974A-426055137E19}" destId="{9E2385EC-E1F5-4A55-89DB-ECCE13E25BCA}" srcOrd="5" destOrd="0" parTransId="{944ABAC1-E5C1-402B-9ECE-64BEACA93232}" sibTransId="{FEB363BB-B7DC-4382-87F0-DC00ABE2B95F}"/>
    <dgm:cxn modelId="{08A542F0-8787-4F4E-8D24-371B2842D121}" srcId="{DA972085-F5D4-4BBF-92EC-9AA47243E356}" destId="{E98115D8-FF15-4729-89D1-8D25AACD4AD5}" srcOrd="3" destOrd="0" parTransId="{CD19B0FB-0FC9-4B7D-A87F-E278686916D7}" sibTransId="{A0ADE5B7-ADAA-4594-9D90-02DB6AAD488E}"/>
    <dgm:cxn modelId="{24318F52-4EF5-4340-9673-896AC7F93093}" type="presOf" srcId="{C0D9EB2A-4EBB-496C-8BAA-F0AF25FD05EE}" destId="{17DEEC3E-2170-40C9-81FD-79BCCA6EBCDE}" srcOrd="0" destOrd="4" presId="urn:microsoft.com/office/officeart/2005/8/layout/cycle4"/>
    <dgm:cxn modelId="{BF7C2002-C53A-4ABA-993D-E9100D6F63E8}" type="presOf" srcId="{0C1E61F2-5331-4757-BE51-FFA9FFB81438}" destId="{7ECE1B07-B136-4926-BFE8-8F4439F820D8}" srcOrd="1" destOrd="6" presId="urn:microsoft.com/office/officeart/2005/8/layout/cycle4"/>
    <dgm:cxn modelId="{53B08BBB-E457-4B14-826B-AC2784BC9E71}" type="presOf" srcId="{93D0BEA3-13B5-45C6-AE47-21BA92E977FB}" destId="{7ECE1B07-B136-4926-BFE8-8F4439F820D8}" srcOrd="1" destOrd="7" presId="urn:microsoft.com/office/officeart/2005/8/layout/cycle4"/>
    <dgm:cxn modelId="{EB8AA0DE-B974-459C-B63F-49621AECA6EC}" srcId="{A669D8A6-F353-4090-AE01-BFC8304164FE}" destId="{BC14B734-9B49-4A6D-B557-78438B728498}" srcOrd="6" destOrd="0" parTransId="{6E28F81F-EDBC-49C3-AFB6-5F062225C6D3}" sibTransId="{593B1670-6F6C-4AFD-9462-C74FD465DCE7}"/>
    <dgm:cxn modelId="{2A5B77C7-A2C1-4673-9827-8DD3FBC0D6DA}" type="presOf" srcId="{5C85218F-9D48-4922-8B5E-3BC17F8F405C}" destId="{CEC32964-7AF6-4878-B658-1C757D31576B}" srcOrd="0" destOrd="10" presId="urn:microsoft.com/office/officeart/2005/8/layout/cycle4"/>
    <dgm:cxn modelId="{600429B8-D0B7-490B-A7B9-0A3BEA5CDD24}" type="presOf" srcId="{C2CC978C-FFC8-4680-8FA6-8E75F0C11C79}" destId="{7ECE1B07-B136-4926-BFE8-8F4439F820D8}" srcOrd="1" destOrd="4" presId="urn:microsoft.com/office/officeart/2005/8/layout/cycle4"/>
    <dgm:cxn modelId="{1FBFF007-8E0A-441A-AAD1-BE0710D3779E}" type="presOf" srcId="{72717EDD-65BA-49AD-B483-2980E7C32B56}" destId="{2529453C-DB70-4653-8A6B-1AE853F3241C}" srcOrd="0" destOrd="5" presId="urn:microsoft.com/office/officeart/2005/8/layout/cycle4"/>
    <dgm:cxn modelId="{3313D067-B7F5-4CF6-B77D-B0803B0C5ADC}" srcId="{DA972085-F5D4-4BBF-92EC-9AA47243E356}" destId="{93D0BEA3-13B5-45C6-AE47-21BA92E977FB}" srcOrd="7" destOrd="0" parTransId="{57851BB6-5C04-4CE6-959B-E35F88D9EEA6}" sibTransId="{65EA89D9-F2FE-4585-93AD-C2F49D569746}"/>
    <dgm:cxn modelId="{DD62F368-B2FC-49AC-86C5-F4EB1B34B816}" type="presOf" srcId="{B6B81336-5957-4768-B7D5-392A6D7F1E4E}" destId="{2529453C-DB70-4653-8A6B-1AE853F3241C}" srcOrd="0" destOrd="1" presId="urn:microsoft.com/office/officeart/2005/8/layout/cycle4"/>
    <dgm:cxn modelId="{590EE9FE-D4AE-44FD-99D7-F9E545F58295}" type="presOf" srcId="{57739804-BD3D-45F6-AD80-F9EE96A52F3E}" destId="{521B4074-2C5D-4487-8A09-3E5513E7584C}" srcOrd="0" destOrd="0" presId="urn:microsoft.com/office/officeart/2005/8/layout/cycle4"/>
    <dgm:cxn modelId="{63CF9E0C-AC6F-470A-9B71-AD8E0B79AE45}" type="presOf" srcId="{032B69BD-CD12-417B-8171-185948D9DD64}" destId="{2529453C-DB70-4653-8A6B-1AE853F3241C}" srcOrd="0" destOrd="2" presId="urn:microsoft.com/office/officeart/2005/8/layout/cycle4"/>
    <dgm:cxn modelId="{765D3DB8-3C35-4A54-9C44-9CFFE88C399E}" type="presOf" srcId="{93D0BEA3-13B5-45C6-AE47-21BA92E977FB}" destId="{2529453C-DB70-4653-8A6B-1AE853F3241C}" srcOrd="0" destOrd="7" presId="urn:microsoft.com/office/officeart/2005/8/layout/cycle4"/>
    <dgm:cxn modelId="{3003E32F-0170-4EB2-82B3-B9AE64832102}" type="presOf" srcId="{8D784B8F-5126-420A-8174-2F634CBC7EAA}" destId="{FE587206-2C27-4346-9DFE-C18B85CD2486}" srcOrd="1" destOrd="2" presId="urn:microsoft.com/office/officeart/2005/8/layout/cycle4"/>
    <dgm:cxn modelId="{07AB5535-B076-4654-979F-9FA7C889BC5E}" type="presOf" srcId="{E173EDD6-3E96-4386-9E88-6329CC04EE39}" destId="{17DEEC3E-2170-40C9-81FD-79BCCA6EBCDE}" srcOrd="0" destOrd="5" presId="urn:microsoft.com/office/officeart/2005/8/layout/cycle4"/>
    <dgm:cxn modelId="{61577F37-DC39-465D-9627-360B9A390020}" srcId="{A669D8A6-F353-4090-AE01-BFC8304164FE}" destId="{03750B82-376F-487B-81FC-9CE48F8E4207}" srcOrd="9" destOrd="0" parTransId="{92DFF7E5-DFCD-49E9-8ACB-6993E9EC9E70}" sibTransId="{7EE3D893-FFBB-4599-A080-38297A0CD7A8}"/>
    <dgm:cxn modelId="{24F9AF11-018B-4EBB-B6D7-12E0969C5750}" type="presOf" srcId="{447D02FC-413A-4483-8E1C-99419FA8A021}" destId="{2529453C-DB70-4653-8A6B-1AE853F3241C}" srcOrd="0" destOrd="0" presId="urn:microsoft.com/office/officeart/2005/8/layout/cycle4"/>
    <dgm:cxn modelId="{3617D476-A576-4519-9CFF-EB774B7E7333}" type="presOf" srcId="{C0D9EB2A-4EBB-496C-8BAA-F0AF25FD05EE}" destId="{1CECDBAE-83B2-44E4-A05F-196FA8B2107D}" srcOrd="1" destOrd="4" presId="urn:microsoft.com/office/officeart/2005/8/layout/cycle4"/>
    <dgm:cxn modelId="{579421AA-8769-41A0-A702-EA4B9D68E4CD}" type="presOf" srcId="{CEC5FB46-35D8-4956-8E19-2E6562583D9B}" destId="{CEC32964-7AF6-4878-B658-1C757D31576B}" srcOrd="0" destOrd="7" presId="urn:microsoft.com/office/officeart/2005/8/layout/cycle4"/>
    <dgm:cxn modelId="{418AB416-5725-40AC-AA45-8F9B40AE7293}" srcId="{C2BF4554-6C1F-44DC-974A-426055137E19}" destId="{E8F0F1B1-C2E1-44EF-A565-239B66837BAC}" srcOrd="1" destOrd="0" parTransId="{164659A7-C97E-4C68-A5D7-BDA5F72FE26F}" sibTransId="{591E0987-E25B-4AD0-B288-B31C847213F1}"/>
    <dgm:cxn modelId="{2B6AD5E9-DF48-4147-BFFB-5409BB3024EA}" type="presOf" srcId="{8D784B8F-5126-420A-8174-2F634CBC7EAA}" destId="{521B4074-2C5D-4487-8A09-3E5513E7584C}" srcOrd="0" destOrd="2" presId="urn:microsoft.com/office/officeart/2005/8/layout/cycle4"/>
    <dgm:cxn modelId="{42114DED-AFDB-4853-ABCF-2B67E909509E}" srcId="{C2BF4554-6C1F-44DC-974A-426055137E19}" destId="{72CCA3D4-026B-439E-8B42-14DE189547DE}" srcOrd="4" destOrd="0" parTransId="{C056153C-7100-40E2-A227-9B5957A34F30}" sibTransId="{62007E1C-9FAB-4FA7-8D36-0841D83549C1}"/>
    <dgm:cxn modelId="{271E37F3-095B-4373-9E03-CD15B3B2B2EB}" srcId="{A669D8A6-F353-4090-AE01-BFC8304164FE}" destId="{E173EDD6-3E96-4386-9E88-6329CC04EE39}" srcOrd="5" destOrd="0" parTransId="{FDF917F4-4023-4D1A-A076-09A295E303CB}" sibTransId="{4CE34374-1AD1-49AE-B54D-F94A949D6202}"/>
    <dgm:cxn modelId="{D3CB762A-8CDD-4856-93C1-CD83BBA5461A}" type="presOf" srcId="{E7E5BD30-AC74-4943-8F9F-379E5B952AD4}" destId="{17DEEC3E-2170-40C9-81FD-79BCCA6EBCDE}" srcOrd="0" destOrd="13" presId="urn:microsoft.com/office/officeart/2005/8/layout/cycle4"/>
    <dgm:cxn modelId="{E97FB069-E356-48DA-9EE2-42F458EB7133}" type="presOf" srcId="{5573423A-907C-4D11-9BB1-49CD22F71372}" destId="{17DEEC3E-2170-40C9-81FD-79BCCA6EBCDE}" srcOrd="0" destOrd="0" presId="urn:microsoft.com/office/officeart/2005/8/layout/cycle4"/>
    <dgm:cxn modelId="{8803DA20-C70E-4125-BF39-7A805C99115A}" type="presOf" srcId="{0C0E8EEF-BADA-4DFC-A18C-759A0BDE2E6D}" destId="{17DEEC3E-2170-40C9-81FD-79BCCA6EBCDE}" srcOrd="0" destOrd="10" presId="urn:microsoft.com/office/officeart/2005/8/layout/cycle4"/>
    <dgm:cxn modelId="{D66FC460-6A7C-4735-98B6-8AA2C4413EA0}" srcId="{A669D8A6-F353-4090-AE01-BFC8304164FE}" destId="{226D03BF-7190-4E88-BFD8-3654CE52DCD1}" srcOrd="7" destOrd="0" parTransId="{E7B9A022-AACD-4175-A21E-DAEE062D82A2}" sibTransId="{D607CB06-600E-423A-BA27-C168776F80AF}"/>
    <dgm:cxn modelId="{C9B43FC8-5508-4554-921F-842F21C552C7}" type="presOf" srcId="{226D03BF-7190-4E88-BFD8-3654CE52DCD1}" destId="{1CECDBAE-83B2-44E4-A05F-196FA8B2107D}" srcOrd="1" destOrd="7" presId="urn:microsoft.com/office/officeart/2005/8/layout/cycle4"/>
    <dgm:cxn modelId="{FFECBADD-CAB5-4DA2-8E11-9BD09968D4A4}" type="presOf" srcId="{0C1E61F2-5331-4757-BE51-FFA9FFB81438}" destId="{2529453C-DB70-4653-8A6B-1AE853F3241C}" srcOrd="0" destOrd="6" presId="urn:microsoft.com/office/officeart/2005/8/layout/cycle4"/>
    <dgm:cxn modelId="{B8B5E0F4-BE43-49C7-AC1D-A4CB6F75CBEF}" srcId="{C896C92E-EC10-40E6-9D98-FEEA2A2A476B}" destId="{1A611383-3637-408A-B499-AFCC0186F8FD}" srcOrd="3" destOrd="0" parTransId="{476B6AEE-9439-4FC7-A531-2718967657A7}" sibTransId="{E3474A2B-B333-406B-9AE1-776ECA3E445E}"/>
    <dgm:cxn modelId="{16D141AE-1D26-43CD-94D8-A3AFD1C09B48}" srcId="{A669D8A6-F353-4090-AE01-BFC8304164FE}" destId="{DFE12999-0A1B-457C-894B-D7AFF75EEA0F}" srcOrd="1" destOrd="0" parTransId="{FD7CFCB3-7F37-4F8E-BBA7-249DAA608DEE}" sibTransId="{61FE3ECA-4327-440C-8FEA-A3A8FF67FC51}"/>
    <dgm:cxn modelId="{C1A33A6B-A82C-44B9-BD41-C06631CF854F}" srcId="{A669D8A6-F353-4090-AE01-BFC8304164FE}" destId="{E7E5BD30-AC74-4943-8F9F-379E5B952AD4}" srcOrd="13" destOrd="0" parTransId="{5C35CE13-2BE8-481B-B813-7762DD9C02BD}" sibTransId="{03E69620-4248-4CD2-A079-34401E4EFC2B}"/>
    <dgm:cxn modelId="{2707B6D0-EFD7-4A05-806D-72F6BFF5C8D7}" srcId="{DA972085-F5D4-4BBF-92EC-9AA47243E356}" destId="{72EF54AA-9663-4474-9019-5821785BF55D}" srcOrd="8" destOrd="0" parTransId="{0E7DA822-1BE9-48C3-BC64-D4C8BA9C6206}" sibTransId="{01B81422-57FB-4DD3-B40E-1354EF0ED623}"/>
    <dgm:cxn modelId="{98D77064-D25B-4427-A968-BEC5A488CE32}" type="presOf" srcId="{72CCA3D4-026B-439E-8B42-14DE189547DE}" destId="{D9BF6DA1-87C2-4839-A59D-5D28D783367B}" srcOrd="1" destOrd="4" presId="urn:microsoft.com/office/officeart/2005/8/layout/cycle4"/>
    <dgm:cxn modelId="{300C8F58-B326-483A-A2E6-B25D16D68E91}" type="presOf" srcId="{C67BDD4E-134C-4243-A166-BF1211161D57}" destId="{1CECDBAE-83B2-44E4-A05F-196FA8B2107D}" srcOrd="1" destOrd="11" presId="urn:microsoft.com/office/officeart/2005/8/layout/cycle4"/>
    <dgm:cxn modelId="{114412BA-A3E2-444B-BB9C-20C857332F76}" type="presOf" srcId="{E157E270-EE80-43C5-8063-0C3624B06CD8}" destId="{17DEEC3E-2170-40C9-81FD-79BCCA6EBCDE}" srcOrd="0" destOrd="12" presId="urn:microsoft.com/office/officeart/2005/8/layout/cycle4"/>
    <dgm:cxn modelId="{241534AC-9241-4C80-BC64-BDF08E74C913}" type="presOf" srcId="{710B80A6-66C6-497B-935B-D1BDBE87D2D9}" destId="{17DEEC3E-2170-40C9-81FD-79BCCA6EBCDE}" srcOrd="0" destOrd="2" presId="urn:microsoft.com/office/officeart/2005/8/layout/cycle4"/>
    <dgm:cxn modelId="{2638F1EA-A0D7-4E46-A3BA-285194E01A70}" type="presOf" srcId="{5C338367-77E2-478D-8BE6-CA5EEA479702}" destId="{17DEEC3E-2170-40C9-81FD-79BCCA6EBCDE}" srcOrd="0" destOrd="3" presId="urn:microsoft.com/office/officeart/2005/8/layout/cycle4"/>
    <dgm:cxn modelId="{D10574FC-F2F6-4C2A-B341-0F0E15073394}" type="presOf" srcId="{226D03BF-7190-4E88-BFD8-3654CE52DCD1}" destId="{17DEEC3E-2170-40C9-81FD-79BCCA6EBCDE}" srcOrd="0" destOrd="7" presId="urn:microsoft.com/office/officeart/2005/8/layout/cycle4"/>
    <dgm:cxn modelId="{6D5BE8FE-CDCF-4576-A3AF-FB0455AE07D2}" srcId="{C2BF4554-6C1F-44DC-974A-426055137E19}" destId="{8622AD36-7042-4D11-B90C-67F9899B4752}" srcOrd="8" destOrd="0" parTransId="{27837B03-D35F-4704-91E7-150A4073921B}" sibTransId="{C7128D7C-1DC5-47AC-989D-B2C6C5E2FDCA}"/>
    <dgm:cxn modelId="{DE546F84-0F91-4993-9F7B-994A89050703}" type="presOf" srcId="{4E9DE698-4092-48A6-9AFA-42424A08628F}" destId="{CEC32964-7AF6-4878-B658-1C757D31576B}" srcOrd="0" destOrd="11" presId="urn:microsoft.com/office/officeart/2005/8/layout/cycle4"/>
    <dgm:cxn modelId="{E6364DAE-4088-44F9-8F26-914E0E9F2A26}" type="presOf" srcId="{E98115D8-FF15-4729-89D1-8D25AACD4AD5}" destId="{7ECE1B07-B136-4926-BFE8-8F4439F820D8}" srcOrd="1" destOrd="3" presId="urn:microsoft.com/office/officeart/2005/8/layout/cycle4"/>
    <dgm:cxn modelId="{A538FF1B-0B0E-49DD-A0BB-C60063771ABC}" srcId="{A669D8A6-F353-4090-AE01-BFC8304164FE}" destId="{E157E270-EE80-43C5-8063-0C3624B06CD8}" srcOrd="12" destOrd="0" parTransId="{E18643C8-BD72-4C5C-9061-CC1D30888455}" sibTransId="{2666184F-396E-440C-9C72-5EEBBDFE3DB3}"/>
    <dgm:cxn modelId="{A9BA692D-0F4A-4284-9AE4-E27906846BD0}" type="presOf" srcId="{DE8061DA-AF60-43EB-A965-189ED77CB481}" destId="{D9BF6DA1-87C2-4839-A59D-5D28D783367B}" srcOrd="1" destOrd="3" presId="urn:microsoft.com/office/officeart/2005/8/layout/cycle4"/>
    <dgm:cxn modelId="{2377413D-5B74-434D-8468-780BD5479C55}" srcId="{A669D8A6-F353-4090-AE01-BFC8304164FE}" destId="{0C0E8EEF-BADA-4DFC-A18C-759A0BDE2E6D}" srcOrd="10" destOrd="0" parTransId="{8BBE828F-CCF4-4AB8-9194-8FCCE30EE375}" sibTransId="{E781AB92-DFC4-4778-AC35-4A696FC9E777}"/>
    <dgm:cxn modelId="{44FC048E-A29E-4003-9764-86A22ABCFB54}" type="presOf" srcId="{9C2D036F-BC0F-4297-B6A1-941776855725}" destId="{17DEEC3E-2170-40C9-81FD-79BCCA6EBCDE}" srcOrd="0" destOrd="8" presId="urn:microsoft.com/office/officeart/2005/8/layout/cycle4"/>
    <dgm:cxn modelId="{D056593C-AD7D-441D-A4A0-85911423B8A6}" type="presOf" srcId="{37C2C6DD-ADF7-4DE7-B7E4-C4D6C240F8EE}" destId="{CEC32964-7AF6-4878-B658-1C757D31576B}" srcOrd="0" destOrd="12" presId="urn:microsoft.com/office/officeart/2005/8/layout/cycle4"/>
    <dgm:cxn modelId="{05366B12-F8E5-4D56-B42F-B10E96DD64C0}" srcId="{DA972085-F5D4-4BBF-92EC-9AA47243E356}" destId="{B6B81336-5957-4768-B7D5-392A6D7F1E4E}" srcOrd="1" destOrd="0" parTransId="{F60DD193-AD20-44C4-A3D7-0DF12840CF63}" sibTransId="{A45FD37F-3869-4180-981F-86B593BDC2E7}"/>
    <dgm:cxn modelId="{3FA12AA5-4E5B-43F0-B96A-4F5F552ABA59}" type="presOf" srcId="{C2CC978C-FFC8-4680-8FA6-8E75F0C11C79}" destId="{2529453C-DB70-4653-8A6B-1AE853F3241C}" srcOrd="0" destOrd="4" presId="urn:microsoft.com/office/officeart/2005/8/layout/cycle4"/>
    <dgm:cxn modelId="{1E10B063-7C84-42D5-8A76-4A592C2318CA}" type="presOf" srcId="{1A611383-3637-408A-B499-AFCC0186F8FD}" destId="{D8C5D740-E13F-4C3F-9D4B-0E9722CAF966}" srcOrd="0" destOrd="0" presId="urn:microsoft.com/office/officeart/2005/8/layout/cycle4"/>
    <dgm:cxn modelId="{7FC88E47-B149-4021-BDF4-34FD238970DC}" srcId="{DA972085-F5D4-4BBF-92EC-9AA47243E356}" destId="{E7E9B13E-98F5-461F-B464-9AAC51766558}" srcOrd="9" destOrd="0" parTransId="{9EC2997F-419F-46A4-98CB-87609DDD939D}" sibTransId="{CD001A9A-6B71-44DB-BA3C-F7FFDB086510}"/>
    <dgm:cxn modelId="{467780A3-3551-4BFE-B547-F9CF4390E968}" type="presOf" srcId="{CEC5FB46-35D8-4956-8E19-2E6562583D9B}" destId="{D9BF6DA1-87C2-4839-A59D-5D28D783367B}" srcOrd="1" destOrd="7" presId="urn:microsoft.com/office/officeart/2005/8/layout/cycle4"/>
    <dgm:cxn modelId="{F5EF06CB-BEA6-43F6-9A76-FD6072858C84}" type="presOf" srcId="{E7E5BD30-AC74-4943-8F9F-379E5B952AD4}" destId="{1CECDBAE-83B2-44E4-A05F-196FA8B2107D}" srcOrd="1" destOrd="13" presId="urn:microsoft.com/office/officeart/2005/8/layout/cycle4"/>
    <dgm:cxn modelId="{89F54449-8D83-4F75-8608-A4931CEE3CB3}" type="presOf" srcId="{DFE12999-0A1B-457C-894B-D7AFF75EEA0F}" destId="{17DEEC3E-2170-40C9-81FD-79BCCA6EBCDE}" srcOrd="0" destOrd="1" presId="urn:microsoft.com/office/officeart/2005/8/layout/cycle4"/>
    <dgm:cxn modelId="{85660EF3-969D-4755-973E-1C7E98FBE32E}" type="presOf" srcId="{DA972085-F5D4-4BBF-92EC-9AA47243E356}" destId="{DAC7AC0A-0198-4B61-B257-DCB9307EDD36}" srcOrd="0" destOrd="0" presId="urn:microsoft.com/office/officeart/2005/8/layout/cycle4"/>
    <dgm:cxn modelId="{63063D33-077B-43A5-885C-6D3F65DF0958}" srcId="{C2BF4554-6C1F-44DC-974A-426055137E19}" destId="{DE8061DA-AF60-43EB-A965-189ED77CB481}" srcOrd="3" destOrd="0" parTransId="{8351201C-509E-4F4E-ACB7-F252F6A28C93}" sibTransId="{CFDEC338-CDB7-4D61-838B-3395D40C5478}"/>
    <dgm:cxn modelId="{728E536D-D439-43DE-AEA6-6C91532E4428}" type="presOf" srcId="{E8F0F1B1-C2E1-44EF-A565-239B66837BAC}" destId="{D9BF6DA1-87C2-4839-A59D-5D28D783367B}" srcOrd="1" destOrd="1" presId="urn:microsoft.com/office/officeart/2005/8/layout/cycle4"/>
    <dgm:cxn modelId="{48749A4A-12EB-4E53-BFAE-3BF3645F3E20}" type="presOf" srcId="{5573423A-907C-4D11-9BB1-49CD22F71372}" destId="{1CECDBAE-83B2-44E4-A05F-196FA8B2107D}" srcOrd="1" destOrd="0" presId="urn:microsoft.com/office/officeart/2005/8/layout/cycle4"/>
    <dgm:cxn modelId="{E5A39C18-E538-48CC-8B11-06EF6E30AFC5}" srcId="{A669D8A6-F353-4090-AE01-BFC8304164FE}" destId="{C67BDD4E-134C-4243-A166-BF1211161D57}" srcOrd="11" destOrd="0" parTransId="{363F6C93-83A9-4758-A99E-31B9F2F43FC5}" sibTransId="{6A14FD56-B35D-4BEA-B52E-581C7B385A37}"/>
    <dgm:cxn modelId="{6FFAD7B4-7D61-4779-9E8B-48810CD7FB05}" type="presOf" srcId="{9C2D036F-BC0F-4297-B6A1-941776855725}" destId="{1CECDBAE-83B2-44E4-A05F-196FA8B2107D}" srcOrd="1" destOrd="8" presId="urn:microsoft.com/office/officeart/2005/8/layout/cycle4"/>
    <dgm:cxn modelId="{B667219F-DF89-41AC-9056-3CAA8D3F695A}" srcId="{DA972085-F5D4-4BBF-92EC-9AA47243E356}" destId="{C2CC978C-FFC8-4680-8FA6-8E75F0C11C79}" srcOrd="4" destOrd="0" parTransId="{0B5FE9D6-4302-420B-803B-1D1E4B723C29}" sibTransId="{F9185A34-B1C2-42A6-A04E-538E6CE6BAD2}"/>
    <dgm:cxn modelId="{0E14FE70-006C-4DB9-BABF-283660E1A015}" type="presParOf" srcId="{40B6292E-EA4F-4434-B63D-409795C8687B}" destId="{57792491-F9A5-4997-8F62-C52596FDFFE0}" srcOrd="0" destOrd="0" presId="urn:microsoft.com/office/officeart/2005/8/layout/cycle4"/>
    <dgm:cxn modelId="{C562B443-70E2-43EF-8DBB-CC76F00F80C9}" type="presParOf" srcId="{57792491-F9A5-4997-8F62-C52596FDFFE0}" destId="{19899A2F-FA78-4681-AC73-C26F6C9F9F63}" srcOrd="0" destOrd="0" presId="urn:microsoft.com/office/officeart/2005/8/layout/cycle4"/>
    <dgm:cxn modelId="{7D109D45-BC83-4711-87F4-B07A49C59FAB}" type="presParOf" srcId="{19899A2F-FA78-4681-AC73-C26F6C9F9F63}" destId="{17DEEC3E-2170-40C9-81FD-79BCCA6EBCDE}" srcOrd="0" destOrd="0" presId="urn:microsoft.com/office/officeart/2005/8/layout/cycle4"/>
    <dgm:cxn modelId="{192FCB14-3B15-445D-9BA7-721D8CCED77D}" type="presParOf" srcId="{19899A2F-FA78-4681-AC73-C26F6C9F9F63}" destId="{1CECDBAE-83B2-44E4-A05F-196FA8B2107D}" srcOrd="1" destOrd="0" presId="urn:microsoft.com/office/officeart/2005/8/layout/cycle4"/>
    <dgm:cxn modelId="{49F89166-FEAC-4F25-97FA-F52C4AE38243}" type="presParOf" srcId="{57792491-F9A5-4997-8F62-C52596FDFFE0}" destId="{527E3807-9438-4DC8-9BB1-4C4E18F0F894}" srcOrd="1" destOrd="0" presId="urn:microsoft.com/office/officeart/2005/8/layout/cycle4"/>
    <dgm:cxn modelId="{C24E949C-0356-4A59-980B-A27D3929865F}" type="presParOf" srcId="{527E3807-9438-4DC8-9BB1-4C4E18F0F894}" destId="{2529453C-DB70-4653-8A6B-1AE853F3241C}" srcOrd="0" destOrd="0" presId="urn:microsoft.com/office/officeart/2005/8/layout/cycle4"/>
    <dgm:cxn modelId="{1A9FFDC5-8D82-4442-B048-AB6F203A8B95}" type="presParOf" srcId="{527E3807-9438-4DC8-9BB1-4C4E18F0F894}" destId="{7ECE1B07-B136-4926-BFE8-8F4439F820D8}" srcOrd="1" destOrd="0" presId="urn:microsoft.com/office/officeart/2005/8/layout/cycle4"/>
    <dgm:cxn modelId="{D33D4AF3-B036-46DB-A49B-C246A4729D35}" type="presParOf" srcId="{57792491-F9A5-4997-8F62-C52596FDFFE0}" destId="{DF3107A1-0710-498A-A811-314A17E3A76F}" srcOrd="2" destOrd="0" presId="urn:microsoft.com/office/officeart/2005/8/layout/cycle4"/>
    <dgm:cxn modelId="{26B41B12-9B8C-4953-BA96-0E86DDC530A5}" type="presParOf" srcId="{DF3107A1-0710-498A-A811-314A17E3A76F}" destId="{CEC32964-7AF6-4878-B658-1C757D31576B}" srcOrd="0" destOrd="0" presId="urn:microsoft.com/office/officeart/2005/8/layout/cycle4"/>
    <dgm:cxn modelId="{F61D03C5-C049-452C-ACDE-F248C80B935D}" type="presParOf" srcId="{DF3107A1-0710-498A-A811-314A17E3A76F}" destId="{D9BF6DA1-87C2-4839-A59D-5D28D783367B}" srcOrd="1" destOrd="0" presId="urn:microsoft.com/office/officeart/2005/8/layout/cycle4"/>
    <dgm:cxn modelId="{99D04DB2-89EE-4362-AE41-016CF2916408}" type="presParOf" srcId="{57792491-F9A5-4997-8F62-C52596FDFFE0}" destId="{887F96B3-366F-4278-B393-45BB9CCB5247}" srcOrd="3" destOrd="0" presId="urn:microsoft.com/office/officeart/2005/8/layout/cycle4"/>
    <dgm:cxn modelId="{3DEDA9C6-93E4-43AF-A272-C39236B023CA}" type="presParOf" srcId="{887F96B3-366F-4278-B393-45BB9CCB5247}" destId="{521B4074-2C5D-4487-8A09-3E5513E7584C}" srcOrd="0" destOrd="0" presId="urn:microsoft.com/office/officeart/2005/8/layout/cycle4"/>
    <dgm:cxn modelId="{34E2A73A-F7C2-4A26-A2EF-6FD3EC2C2E80}" type="presParOf" srcId="{887F96B3-366F-4278-B393-45BB9CCB5247}" destId="{FE587206-2C27-4346-9DFE-C18B85CD2486}" srcOrd="1" destOrd="0" presId="urn:microsoft.com/office/officeart/2005/8/layout/cycle4"/>
    <dgm:cxn modelId="{A2509C11-2283-4574-A060-4AA7F73D0438}" type="presParOf" srcId="{57792491-F9A5-4997-8F62-C52596FDFFE0}" destId="{DCD98BCC-CF47-4174-BFA6-29B7E9E29402}" srcOrd="4" destOrd="0" presId="urn:microsoft.com/office/officeart/2005/8/layout/cycle4"/>
    <dgm:cxn modelId="{CF34D796-6E3E-41B0-AF51-93186FF8CA56}" type="presParOf" srcId="{40B6292E-EA4F-4434-B63D-409795C8687B}" destId="{EAD51148-3D59-47DB-A014-670F15D5AE3B}" srcOrd="1" destOrd="0" presId="urn:microsoft.com/office/officeart/2005/8/layout/cycle4"/>
    <dgm:cxn modelId="{43083198-B484-4146-87B0-8712C1E7F798}" type="presParOf" srcId="{EAD51148-3D59-47DB-A014-670F15D5AE3B}" destId="{D929DA09-2E7F-48AA-9BAE-259F65F6EB26}" srcOrd="0" destOrd="0" presId="urn:microsoft.com/office/officeart/2005/8/layout/cycle4"/>
    <dgm:cxn modelId="{FA43FAD5-AD16-4A9C-8AC1-656B6EFB2DB1}" type="presParOf" srcId="{EAD51148-3D59-47DB-A014-670F15D5AE3B}" destId="{DAC7AC0A-0198-4B61-B257-DCB9307EDD36}" srcOrd="1" destOrd="0" presId="urn:microsoft.com/office/officeart/2005/8/layout/cycle4"/>
    <dgm:cxn modelId="{35294FA0-D45A-4784-9DDF-D2148FF16488}" type="presParOf" srcId="{EAD51148-3D59-47DB-A014-670F15D5AE3B}" destId="{45AF4476-A9FD-47BA-B30C-17E0105A9BFF}" srcOrd="2" destOrd="0" presId="urn:microsoft.com/office/officeart/2005/8/layout/cycle4"/>
    <dgm:cxn modelId="{25E3497E-AF4D-4CA2-8367-BF9D8F161961}" type="presParOf" srcId="{EAD51148-3D59-47DB-A014-670F15D5AE3B}" destId="{D8C5D740-E13F-4C3F-9D4B-0E9722CAF966}" srcOrd="3" destOrd="0" presId="urn:microsoft.com/office/officeart/2005/8/layout/cycle4"/>
    <dgm:cxn modelId="{4FB2B73F-468D-437D-902B-829343C015AD}" type="presParOf" srcId="{EAD51148-3D59-47DB-A014-670F15D5AE3B}" destId="{2C61AF7B-2DE5-494D-8920-93F5B73FEE86}" srcOrd="4" destOrd="0" presId="urn:microsoft.com/office/officeart/2005/8/layout/cycle4"/>
    <dgm:cxn modelId="{737CBEAD-5CD2-4544-AAA6-4AF01F0D05CB}" type="presParOf" srcId="{40B6292E-EA4F-4434-B63D-409795C8687B}" destId="{153C7629-CD77-46CF-A67F-E573EB5474A0}" srcOrd="2" destOrd="0" presId="urn:microsoft.com/office/officeart/2005/8/layout/cycle4"/>
    <dgm:cxn modelId="{4A6646C0-7872-4EE6-B46F-B7C37B16D89C}" type="presParOf" srcId="{40B6292E-EA4F-4434-B63D-409795C8687B}" destId="{A1DE6915-A8A4-4B11-9F03-18C339C14748}" srcOrd="3" destOrd="0" presId="urn:microsoft.com/office/officeart/2005/8/layout/cycle4"/>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D4E7498-5B2A-4585-9DA1-74C00556D481}"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E691FB6F-64F5-43FE-9623-4109FAF612E2}">
      <dgm:prSet phldrT="[Text]" custT="1"/>
      <dgm:spPr/>
      <dgm:t>
        <a:bodyPr/>
        <a:lstStyle/>
        <a:p>
          <a:r>
            <a:rPr lang="en-US" sz="1800" b="1" dirty="0" smtClean="0"/>
            <a:t>New Systems</a:t>
          </a:r>
          <a:endParaRPr lang="en-US" sz="1800" b="1" dirty="0"/>
        </a:p>
      </dgm:t>
    </dgm:pt>
    <dgm:pt modelId="{4CE86F59-7D76-4F98-956A-1225F7E76B44}" type="parTrans" cxnId="{0D4EB77D-E92A-4C9C-A74A-56E84A96DE63}">
      <dgm:prSet/>
      <dgm:spPr/>
      <dgm:t>
        <a:bodyPr/>
        <a:lstStyle/>
        <a:p>
          <a:endParaRPr lang="en-US"/>
        </a:p>
      </dgm:t>
    </dgm:pt>
    <dgm:pt modelId="{B6953821-7622-4BBE-B14C-FE3E398A9E1C}" type="sibTrans" cxnId="{0D4EB77D-E92A-4C9C-A74A-56E84A96DE63}">
      <dgm:prSet/>
      <dgm:spPr/>
      <dgm:t>
        <a:bodyPr/>
        <a:lstStyle/>
        <a:p>
          <a:endParaRPr lang="en-US"/>
        </a:p>
      </dgm:t>
    </dgm:pt>
    <dgm:pt modelId="{49EDCBD0-98E1-4D47-AD0B-94552DFE6B3A}">
      <dgm:prSet phldrT="[Text]" custT="1"/>
      <dgm:spPr/>
      <dgm:t>
        <a:bodyPr/>
        <a:lstStyle/>
        <a:p>
          <a:r>
            <a:rPr lang="en-US" sz="1800" dirty="0" smtClean="0"/>
            <a:t>Different screens</a:t>
          </a:r>
          <a:endParaRPr lang="en-US" sz="1800" dirty="0"/>
        </a:p>
      </dgm:t>
    </dgm:pt>
    <dgm:pt modelId="{E6F6BFF5-C3C8-49C5-B0D5-462E76D12CFC}" type="parTrans" cxnId="{DEBB3A9B-7F13-48DE-BE1E-36F11921C344}">
      <dgm:prSet/>
      <dgm:spPr/>
      <dgm:t>
        <a:bodyPr/>
        <a:lstStyle/>
        <a:p>
          <a:endParaRPr lang="en-US"/>
        </a:p>
      </dgm:t>
    </dgm:pt>
    <dgm:pt modelId="{BFECBB15-7ED4-49D2-98DF-00D360CDA856}" type="sibTrans" cxnId="{DEBB3A9B-7F13-48DE-BE1E-36F11921C344}">
      <dgm:prSet/>
      <dgm:spPr/>
      <dgm:t>
        <a:bodyPr/>
        <a:lstStyle/>
        <a:p>
          <a:endParaRPr lang="en-US"/>
        </a:p>
      </dgm:t>
    </dgm:pt>
    <dgm:pt modelId="{D9BE3251-949C-42EA-AAAE-00D00DFBFC91}">
      <dgm:prSet phldrT="[Text]" custT="1"/>
      <dgm:spPr/>
      <dgm:t>
        <a:bodyPr/>
        <a:lstStyle/>
        <a:p>
          <a:r>
            <a:rPr lang="en-US" sz="1800" b="1" dirty="0" smtClean="0"/>
            <a:t>New Processes</a:t>
          </a:r>
          <a:endParaRPr lang="en-US" sz="1800" b="1" dirty="0"/>
        </a:p>
      </dgm:t>
    </dgm:pt>
    <dgm:pt modelId="{5F02B5CB-F4F4-4F9F-A158-5C68A39D0EA6}" type="parTrans" cxnId="{889A0099-9582-4244-A048-F82AA7D2D97F}">
      <dgm:prSet/>
      <dgm:spPr/>
      <dgm:t>
        <a:bodyPr/>
        <a:lstStyle/>
        <a:p>
          <a:endParaRPr lang="en-US"/>
        </a:p>
      </dgm:t>
    </dgm:pt>
    <dgm:pt modelId="{7E3C0CDC-6589-4B4E-B9C3-83BEDEA36B6F}" type="sibTrans" cxnId="{889A0099-9582-4244-A048-F82AA7D2D97F}">
      <dgm:prSet/>
      <dgm:spPr/>
      <dgm:t>
        <a:bodyPr/>
        <a:lstStyle/>
        <a:p>
          <a:endParaRPr lang="en-US"/>
        </a:p>
      </dgm:t>
    </dgm:pt>
    <dgm:pt modelId="{5868124B-DD71-44F1-A2A5-17805CF3F516}">
      <dgm:prSet phldrT="[Text]" custT="1"/>
      <dgm:spPr/>
      <dgm:t>
        <a:bodyPr/>
        <a:lstStyle/>
        <a:p>
          <a:r>
            <a:rPr lang="en-US" sz="1800" dirty="0" smtClean="0"/>
            <a:t>Different info coming from different places</a:t>
          </a:r>
        </a:p>
      </dgm:t>
    </dgm:pt>
    <dgm:pt modelId="{DDC58D26-37FE-4514-863D-3B6517FB4775}" type="parTrans" cxnId="{E2D0C20F-86BF-498B-B3B2-B2DC477E88A4}">
      <dgm:prSet/>
      <dgm:spPr/>
      <dgm:t>
        <a:bodyPr/>
        <a:lstStyle/>
        <a:p>
          <a:endParaRPr lang="en-US"/>
        </a:p>
      </dgm:t>
    </dgm:pt>
    <dgm:pt modelId="{1CE5FE32-2277-417B-8C10-E7663C5C61A7}" type="sibTrans" cxnId="{E2D0C20F-86BF-498B-B3B2-B2DC477E88A4}">
      <dgm:prSet/>
      <dgm:spPr/>
      <dgm:t>
        <a:bodyPr/>
        <a:lstStyle/>
        <a:p>
          <a:endParaRPr lang="en-US"/>
        </a:p>
      </dgm:t>
    </dgm:pt>
    <dgm:pt modelId="{E60ECBD9-76E5-41AE-B057-8CE2B0EA5C9F}">
      <dgm:prSet phldrT="[Text]" custT="1"/>
      <dgm:spPr/>
      <dgm:t>
        <a:bodyPr/>
        <a:lstStyle/>
        <a:p>
          <a:r>
            <a:rPr lang="en-US" sz="1800" dirty="0" smtClean="0"/>
            <a:t>Reduced steps in a process</a:t>
          </a:r>
        </a:p>
      </dgm:t>
    </dgm:pt>
    <dgm:pt modelId="{D882D8DC-B297-4335-88A7-D378D2D05D1D}" type="parTrans" cxnId="{04A34618-46AE-4B0E-ABE1-DA65C502F6AA}">
      <dgm:prSet/>
      <dgm:spPr/>
      <dgm:t>
        <a:bodyPr/>
        <a:lstStyle/>
        <a:p>
          <a:endParaRPr lang="en-US"/>
        </a:p>
      </dgm:t>
    </dgm:pt>
    <dgm:pt modelId="{96B83582-C31A-46C1-B630-AFBD8AA0477B}" type="sibTrans" cxnId="{04A34618-46AE-4B0E-ABE1-DA65C502F6AA}">
      <dgm:prSet/>
      <dgm:spPr/>
      <dgm:t>
        <a:bodyPr/>
        <a:lstStyle/>
        <a:p>
          <a:endParaRPr lang="en-US"/>
        </a:p>
      </dgm:t>
    </dgm:pt>
    <dgm:pt modelId="{223DF8ED-1DC7-4356-82C3-93B0062DC4FF}">
      <dgm:prSet phldrT="[Text]" custT="1"/>
      <dgm:spPr/>
      <dgm:t>
        <a:bodyPr/>
        <a:lstStyle/>
        <a:p>
          <a:r>
            <a:rPr lang="en-US" sz="1800" b="1" dirty="0" smtClean="0"/>
            <a:t>New Responsibilities</a:t>
          </a:r>
        </a:p>
      </dgm:t>
    </dgm:pt>
    <dgm:pt modelId="{7F210175-942C-4A5F-91E8-B6C9F0CBEDBA}" type="parTrans" cxnId="{8B0556BC-6ECC-4F4D-B572-CDEFFB901293}">
      <dgm:prSet/>
      <dgm:spPr/>
      <dgm:t>
        <a:bodyPr/>
        <a:lstStyle/>
        <a:p>
          <a:endParaRPr lang="en-US"/>
        </a:p>
      </dgm:t>
    </dgm:pt>
    <dgm:pt modelId="{CE3D0542-F679-49E2-9D5F-5F1BA920AB9C}" type="sibTrans" cxnId="{8B0556BC-6ECC-4F4D-B572-CDEFFB901293}">
      <dgm:prSet/>
      <dgm:spPr/>
      <dgm:t>
        <a:bodyPr/>
        <a:lstStyle/>
        <a:p>
          <a:endParaRPr lang="en-US"/>
        </a:p>
      </dgm:t>
    </dgm:pt>
    <dgm:pt modelId="{0B335B1C-FC0F-48B1-9A09-AC694E7C6F8C}">
      <dgm:prSet phldrT="[Text]" custT="1"/>
      <dgm:spPr/>
      <dgm:t>
        <a:bodyPr/>
        <a:lstStyle/>
        <a:p>
          <a:r>
            <a:rPr lang="en-US" sz="1800" dirty="0" smtClean="0"/>
            <a:t>Potential for delegated authorities</a:t>
          </a:r>
        </a:p>
      </dgm:t>
    </dgm:pt>
    <dgm:pt modelId="{E78AE34A-2BB2-4E4C-AB2E-CE915C4357AF}" type="parTrans" cxnId="{5C576EF4-FEA1-412F-A275-81C3FE685F85}">
      <dgm:prSet/>
      <dgm:spPr/>
      <dgm:t>
        <a:bodyPr/>
        <a:lstStyle/>
        <a:p>
          <a:endParaRPr lang="en-US"/>
        </a:p>
      </dgm:t>
    </dgm:pt>
    <dgm:pt modelId="{A3063E42-17C2-427F-BA30-A488F9E0445B}" type="sibTrans" cxnId="{5C576EF4-FEA1-412F-A275-81C3FE685F85}">
      <dgm:prSet/>
      <dgm:spPr/>
      <dgm:t>
        <a:bodyPr/>
        <a:lstStyle/>
        <a:p>
          <a:endParaRPr lang="en-US"/>
        </a:p>
      </dgm:t>
    </dgm:pt>
    <dgm:pt modelId="{A7D174B3-9F97-4B75-B976-85674E2F2789}">
      <dgm:prSet phldrT="[Text]" custT="1"/>
      <dgm:spPr/>
      <dgm:t>
        <a:bodyPr/>
        <a:lstStyle/>
        <a:p>
          <a:r>
            <a:rPr lang="en-US" sz="1800" dirty="0" smtClean="0"/>
            <a:t>Different terminology</a:t>
          </a:r>
          <a:endParaRPr lang="en-US" sz="1800" dirty="0"/>
        </a:p>
      </dgm:t>
    </dgm:pt>
    <dgm:pt modelId="{DED6BDE7-226C-420C-94A6-5D6506D43699}" type="parTrans" cxnId="{4DC35AF6-7D9F-43A4-8C5E-067B9E81D733}">
      <dgm:prSet/>
      <dgm:spPr/>
      <dgm:t>
        <a:bodyPr/>
        <a:lstStyle/>
        <a:p>
          <a:endParaRPr lang="en-US"/>
        </a:p>
      </dgm:t>
    </dgm:pt>
    <dgm:pt modelId="{E139C4AE-095D-412B-8778-BCFF94503B56}" type="sibTrans" cxnId="{4DC35AF6-7D9F-43A4-8C5E-067B9E81D733}">
      <dgm:prSet/>
      <dgm:spPr/>
      <dgm:t>
        <a:bodyPr/>
        <a:lstStyle/>
        <a:p>
          <a:endParaRPr lang="en-US"/>
        </a:p>
      </dgm:t>
    </dgm:pt>
    <dgm:pt modelId="{15CD5912-0C8F-42F6-94F2-E2A972E82D75}">
      <dgm:prSet phldrT="[Text]" custT="1"/>
      <dgm:spPr/>
      <dgm:t>
        <a:bodyPr/>
        <a:lstStyle/>
        <a:p>
          <a:r>
            <a:rPr lang="en-US" sz="1800" dirty="0" smtClean="0"/>
            <a:t>Different data to enter</a:t>
          </a:r>
          <a:endParaRPr lang="en-US" sz="1800" dirty="0"/>
        </a:p>
      </dgm:t>
    </dgm:pt>
    <dgm:pt modelId="{CB90CCCF-1511-4307-9481-881C5A3C0BA2}" type="parTrans" cxnId="{A11557B7-528F-4E2A-8EF9-A4AA5B3A297B}">
      <dgm:prSet/>
      <dgm:spPr/>
      <dgm:t>
        <a:bodyPr/>
        <a:lstStyle/>
        <a:p>
          <a:endParaRPr lang="en-US"/>
        </a:p>
      </dgm:t>
    </dgm:pt>
    <dgm:pt modelId="{11D2D109-0162-4E5F-9D09-5B11DE487CE8}" type="sibTrans" cxnId="{A11557B7-528F-4E2A-8EF9-A4AA5B3A297B}">
      <dgm:prSet/>
      <dgm:spPr/>
      <dgm:t>
        <a:bodyPr/>
        <a:lstStyle/>
        <a:p>
          <a:endParaRPr lang="en-US"/>
        </a:p>
      </dgm:t>
    </dgm:pt>
    <dgm:pt modelId="{7638A5D7-C676-413B-A7FC-15CA591AA0F3}">
      <dgm:prSet phldrT="[Text]" custT="1"/>
      <dgm:spPr/>
      <dgm:t>
        <a:bodyPr/>
        <a:lstStyle/>
        <a:p>
          <a:r>
            <a:rPr lang="en-US" sz="1800" dirty="0" smtClean="0"/>
            <a:t>Different reports</a:t>
          </a:r>
          <a:endParaRPr lang="en-US" sz="1800" dirty="0"/>
        </a:p>
      </dgm:t>
    </dgm:pt>
    <dgm:pt modelId="{A09A2E6F-8345-477C-AC41-F2161465A231}" type="parTrans" cxnId="{DDFC5E65-B16D-4F42-A632-8D8C56D0736C}">
      <dgm:prSet/>
      <dgm:spPr/>
      <dgm:t>
        <a:bodyPr/>
        <a:lstStyle/>
        <a:p>
          <a:endParaRPr lang="en-US"/>
        </a:p>
      </dgm:t>
    </dgm:pt>
    <dgm:pt modelId="{74CEF710-D397-4445-9400-0793E485EA51}" type="sibTrans" cxnId="{DDFC5E65-B16D-4F42-A632-8D8C56D0736C}">
      <dgm:prSet/>
      <dgm:spPr/>
      <dgm:t>
        <a:bodyPr/>
        <a:lstStyle/>
        <a:p>
          <a:endParaRPr lang="en-US"/>
        </a:p>
      </dgm:t>
    </dgm:pt>
    <dgm:pt modelId="{00E0B941-EFF2-4F72-96B0-AC3A13BE5BCA}">
      <dgm:prSet phldrT="[Text]" custT="1"/>
      <dgm:spPr/>
      <dgm:t>
        <a:bodyPr/>
        <a:lstStyle/>
        <a:p>
          <a:r>
            <a:rPr lang="en-US" sz="1800" dirty="0" smtClean="0"/>
            <a:t>Different approval paths</a:t>
          </a:r>
        </a:p>
      </dgm:t>
    </dgm:pt>
    <dgm:pt modelId="{646CE1F1-EAC5-4DF7-98A5-A385986AF0F0}" type="parTrans" cxnId="{CC3BBFAB-89BF-470D-884E-E3C33D12ED50}">
      <dgm:prSet/>
      <dgm:spPr/>
      <dgm:t>
        <a:bodyPr/>
        <a:lstStyle/>
        <a:p>
          <a:endParaRPr lang="en-US"/>
        </a:p>
      </dgm:t>
    </dgm:pt>
    <dgm:pt modelId="{FE7B86B5-F0AC-47DD-BFB4-25A882A830C5}" type="sibTrans" cxnId="{CC3BBFAB-89BF-470D-884E-E3C33D12ED50}">
      <dgm:prSet/>
      <dgm:spPr/>
      <dgm:t>
        <a:bodyPr/>
        <a:lstStyle/>
        <a:p>
          <a:endParaRPr lang="en-US"/>
        </a:p>
      </dgm:t>
    </dgm:pt>
    <dgm:pt modelId="{206FACDD-0820-4DA8-A114-7FFD2C72E40F}">
      <dgm:prSet phldrT="[Text]" custT="1"/>
      <dgm:spPr/>
      <dgm:t>
        <a:bodyPr/>
        <a:lstStyle/>
        <a:p>
          <a:r>
            <a:rPr lang="en-US" sz="1800" dirty="0" smtClean="0"/>
            <a:t>Automated approvals</a:t>
          </a:r>
        </a:p>
      </dgm:t>
    </dgm:pt>
    <dgm:pt modelId="{657F431E-7747-434F-B03C-1F687CA1DE86}" type="parTrans" cxnId="{D8909C17-DCF6-4FD0-AC5D-938AAE152E3D}">
      <dgm:prSet/>
      <dgm:spPr/>
      <dgm:t>
        <a:bodyPr/>
        <a:lstStyle/>
        <a:p>
          <a:endParaRPr lang="en-US"/>
        </a:p>
      </dgm:t>
    </dgm:pt>
    <dgm:pt modelId="{3CF87C9E-CD48-43B7-8424-CA28A0E8FC21}" type="sibTrans" cxnId="{D8909C17-DCF6-4FD0-AC5D-938AAE152E3D}">
      <dgm:prSet/>
      <dgm:spPr/>
      <dgm:t>
        <a:bodyPr/>
        <a:lstStyle/>
        <a:p>
          <a:endParaRPr lang="en-US"/>
        </a:p>
      </dgm:t>
    </dgm:pt>
    <dgm:pt modelId="{115E4928-2EC7-4A21-8789-6D13CB70B492}">
      <dgm:prSet phldrT="[Text]" custT="1"/>
      <dgm:spPr/>
      <dgm:t>
        <a:bodyPr/>
        <a:lstStyle/>
        <a:p>
          <a:r>
            <a:rPr lang="en-US" sz="1800" dirty="0" smtClean="0"/>
            <a:t>Different people entering data</a:t>
          </a:r>
        </a:p>
      </dgm:t>
    </dgm:pt>
    <dgm:pt modelId="{1C33C820-2A56-4338-AE4B-B0F9F282E298}" type="parTrans" cxnId="{BE9CE65C-E505-4005-9450-65E931BD161C}">
      <dgm:prSet/>
      <dgm:spPr/>
      <dgm:t>
        <a:bodyPr/>
        <a:lstStyle/>
        <a:p>
          <a:endParaRPr lang="en-US"/>
        </a:p>
      </dgm:t>
    </dgm:pt>
    <dgm:pt modelId="{CC8874C2-9B30-46E2-A23C-B1245A6354F3}" type="sibTrans" cxnId="{BE9CE65C-E505-4005-9450-65E931BD161C}">
      <dgm:prSet/>
      <dgm:spPr/>
      <dgm:t>
        <a:bodyPr/>
        <a:lstStyle/>
        <a:p>
          <a:endParaRPr lang="en-US"/>
        </a:p>
      </dgm:t>
    </dgm:pt>
    <dgm:pt modelId="{7758B203-3300-4A65-8ABC-F895CDF01338}" type="pres">
      <dgm:prSet presAssocID="{5D4E7498-5B2A-4585-9DA1-74C00556D481}" presName="Name0" presStyleCnt="0">
        <dgm:presLayoutVars>
          <dgm:dir/>
          <dgm:animLvl val="lvl"/>
          <dgm:resizeHandles val="exact"/>
        </dgm:presLayoutVars>
      </dgm:prSet>
      <dgm:spPr/>
      <dgm:t>
        <a:bodyPr/>
        <a:lstStyle/>
        <a:p>
          <a:endParaRPr lang="en-US"/>
        </a:p>
      </dgm:t>
    </dgm:pt>
    <dgm:pt modelId="{34AE5AF7-AAE2-4328-A656-AC7EA710A892}" type="pres">
      <dgm:prSet presAssocID="{E691FB6F-64F5-43FE-9623-4109FAF612E2}" presName="linNode" presStyleCnt="0"/>
      <dgm:spPr/>
    </dgm:pt>
    <dgm:pt modelId="{D895814F-A666-4905-AC60-F81C2E9CF75B}" type="pres">
      <dgm:prSet presAssocID="{E691FB6F-64F5-43FE-9623-4109FAF612E2}" presName="parentText" presStyleLbl="node1" presStyleIdx="0" presStyleCnt="3">
        <dgm:presLayoutVars>
          <dgm:chMax val="1"/>
          <dgm:bulletEnabled val="1"/>
        </dgm:presLayoutVars>
      </dgm:prSet>
      <dgm:spPr/>
      <dgm:t>
        <a:bodyPr/>
        <a:lstStyle/>
        <a:p>
          <a:endParaRPr lang="en-US"/>
        </a:p>
      </dgm:t>
    </dgm:pt>
    <dgm:pt modelId="{A1C758B4-CF70-4C40-8A35-46CC8764E368}" type="pres">
      <dgm:prSet presAssocID="{E691FB6F-64F5-43FE-9623-4109FAF612E2}" presName="descendantText" presStyleLbl="alignAccFollowNode1" presStyleIdx="0" presStyleCnt="3">
        <dgm:presLayoutVars>
          <dgm:bulletEnabled val="1"/>
        </dgm:presLayoutVars>
      </dgm:prSet>
      <dgm:spPr/>
      <dgm:t>
        <a:bodyPr/>
        <a:lstStyle/>
        <a:p>
          <a:endParaRPr lang="en-US"/>
        </a:p>
      </dgm:t>
    </dgm:pt>
    <dgm:pt modelId="{452EAB81-884F-48F3-83E3-B4C97B95BA10}" type="pres">
      <dgm:prSet presAssocID="{B6953821-7622-4BBE-B14C-FE3E398A9E1C}" presName="sp" presStyleCnt="0"/>
      <dgm:spPr/>
    </dgm:pt>
    <dgm:pt modelId="{CA02ADEF-71E2-4FE0-9D06-390C88037DC1}" type="pres">
      <dgm:prSet presAssocID="{D9BE3251-949C-42EA-AAAE-00D00DFBFC91}" presName="linNode" presStyleCnt="0"/>
      <dgm:spPr/>
    </dgm:pt>
    <dgm:pt modelId="{DD1E2E89-DDA8-4BF2-8C54-C1F6DCACE137}" type="pres">
      <dgm:prSet presAssocID="{D9BE3251-949C-42EA-AAAE-00D00DFBFC91}" presName="parentText" presStyleLbl="node1" presStyleIdx="1" presStyleCnt="3">
        <dgm:presLayoutVars>
          <dgm:chMax val="1"/>
          <dgm:bulletEnabled val="1"/>
        </dgm:presLayoutVars>
      </dgm:prSet>
      <dgm:spPr/>
      <dgm:t>
        <a:bodyPr/>
        <a:lstStyle/>
        <a:p>
          <a:endParaRPr lang="en-US"/>
        </a:p>
      </dgm:t>
    </dgm:pt>
    <dgm:pt modelId="{F5F73DCA-FC4D-4B55-B3F5-F5CD5A2598C9}" type="pres">
      <dgm:prSet presAssocID="{D9BE3251-949C-42EA-AAAE-00D00DFBFC91}" presName="descendantText" presStyleLbl="alignAccFollowNode1" presStyleIdx="1" presStyleCnt="3">
        <dgm:presLayoutVars>
          <dgm:bulletEnabled val="1"/>
        </dgm:presLayoutVars>
      </dgm:prSet>
      <dgm:spPr/>
      <dgm:t>
        <a:bodyPr/>
        <a:lstStyle/>
        <a:p>
          <a:endParaRPr lang="en-US"/>
        </a:p>
      </dgm:t>
    </dgm:pt>
    <dgm:pt modelId="{A30EE1D4-0BE1-46F1-A866-F1000E629A7A}" type="pres">
      <dgm:prSet presAssocID="{7E3C0CDC-6589-4B4E-B9C3-83BEDEA36B6F}" presName="sp" presStyleCnt="0"/>
      <dgm:spPr/>
    </dgm:pt>
    <dgm:pt modelId="{4E9E8364-7173-4203-BDD2-C54DBAF125B7}" type="pres">
      <dgm:prSet presAssocID="{223DF8ED-1DC7-4356-82C3-93B0062DC4FF}" presName="linNode" presStyleCnt="0"/>
      <dgm:spPr/>
    </dgm:pt>
    <dgm:pt modelId="{D2C4F2DD-D9AA-425B-BC67-BA9F8819B788}" type="pres">
      <dgm:prSet presAssocID="{223DF8ED-1DC7-4356-82C3-93B0062DC4FF}" presName="parentText" presStyleLbl="node1" presStyleIdx="2" presStyleCnt="3">
        <dgm:presLayoutVars>
          <dgm:chMax val="1"/>
          <dgm:bulletEnabled val="1"/>
        </dgm:presLayoutVars>
      </dgm:prSet>
      <dgm:spPr/>
      <dgm:t>
        <a:bodyPr/>
        <a:lstStyle/>
        <a:p>
          <a:endParaRPr lang="en-US"/>
        </a:p>
      </dgm:t>
    </dgm:pt>
    <dgm:pt modelId="{5E66B3D7-B726-483B-B9F0-976E9C61BCD0}" type="pres">
      <dgm:prSet presAssocID="{223DF8ED-1DC7-4356-82C3-93B0062DC4FF}" presName="descendantText" presStyleLbl="alignAccFollowNode1" presStyleIdx="2" presStyleCnt="3">
        <dgm:presLayoutVars>
          <dgm:bulletEnabled val="1"/>
        </dgm:presLayoutVars>
      </dgm:prSet>
      <dgm:spPr/>
      <dgm:t>
        <a:bodyPr/>
        <a:lstStyle/>
        <a:p>
          <a:endParaRPr lang="en-US"/>
        </a:p>
      </dgm:t>
    </dgm:pt>
  </dgm:ptLst>
  <dgm:cxnLst>
    <dgm:cxn modelId="{ED36F6AC-464A-4ADA-92D5-CCA59FA355AA}" type="presOf" srcId="{115E4928-2EC7-4A21-8789-6D13CB70B492}" destId="{5E66B3D7-B726-483B-B9F0-976E9C61BCD0}" srcOrd="0" destOrd="2" presId="urn:microsoft.com/office/officeart/2005/8/layout/vList5"/>
    <dgm:cxn modelId="{E1071F9A-DFA9-4D1F-97D8-360CDB237932}" type="presOf" srcId="{5D4E7498-5B2A-4585-9DA1-74C00556D481}" destId="{7758B203-3300-4A65-8ABC-F895CDF01338}" srcOrd="0" destOrd="0" presId="urn:microsoft.com/office/officeart/2005/8/layout/vList5"/>
    <dgm:cxn modelId="{DB329351-05A1-4554-8514-6F41A28A56D8}" type="presOf" srcId="{A7D174B3-9F97-4B75-B976-85674E2F2789}" destId="{A1C758B4-CF70-4C40-8A35-46CC8764E368}" srcOrd="0" destOrd="1" presId="urn:microsoft.com/office/officeart/2005/8/layout/vList5"/>
    <dgm:cxn modelId="{DDFC5E65-B16D-4F42-A632-8D8C56D0736C}" srcId="{E691FB6F-64F5-43FE-9623-4109FAF612E2}" destId="{7638A5D7-C676-413B-A7FC-15CA591AA0F3}" srcOrd="3" destOrd="0" parTransId="{A09A2E6F-8345-477C-AC41-F2161465A231}" sibTransId="{74CEF710-D397-4445-9400-0793E485EA51}"/>
    <dgm:cxn modelId="{4755C3DC-2291-46DB-83F5-8ADD6C797E4C}" type="presOf" srcId="{223DF8ED-1DC7-4356-82C3-93B0062DC4FF}" destId="{D2C4F2DD-D9AA-425B-BC67-BA9F8819B788}" srcOrd="0" destOrd="0" presId="urn:microsoft.com/office/officeart/2005/8/layout/vList5"/>
    <dgm:cxn modelId="{E2D0C20F-86BF-498B-B3B2-B2DC477E88A4}" srcId="{D9BE3251-949C-42EA-AAAE-00D00DFBFC91}" destId="{5868124B-DD71-44F1-A2A5-17805CF3F516}" srcOrd="0" destOrd="0" parTransId="{DDC58D26-37FE-4514-863D-3B6517FB4775}" sibTransId="{1CE5FE32-2277-417B-8C10-E7663C5C61A7}"/>
    <dgm:cxn modelId="{9C77339D-5D2D-46A1-9CEE-73F6379E090D}" type="presOf" srcId="{0B335B1C-FC0F-48B1-9A09-AC694E7C6F8C}" destId="{5E66B3D7-B726-483B-B9F0-976E9C61BCD0}" srcOrd="0" destOrd="0" presId="urn:microsoft.com/office/officeart/2005/8/layout/vList5"/>
    <dgm:cxn modelId="{54777714-CA57-41C6-8F23-AD61C11881B6}" type="presOf" srcId="{49EDCBD0-98E1-4D47-AD0B-94552DFE6B3A}" destId="{A1C758B4-CF70-4C40-8A35-46CC8764E368}" srcOrd="0" destOrd="0" presId="urn:microsoft.com/office/officeart/2005/8/layout/vList5"/>
    <dgm:cxn modelId="{889A0099-9582-4244-A048-F82AA7D2D97F}" srcId="{5D4E7498-5B2A-4585-9DA1-74C00556D481}" destId="{D9BE3251-949C-42EA-AAAE-00D00DFBFC91}" srcOrd="1" destOrd="0" parTransId="{5F02B5CB-F4F4-4F9F-A158-5C68A39D0EA6}" sibTransId="{7E3C0CDC-6589-4B4E-B9C3-83BEDEA36B6F}"/>
    <dgm:cxn modelId="{EE0DDDF3-FB5D-4A45-A05A-55AF9F32EB14}" type="presOf" srcId="{206FACDD-0820-4DA8-A114-7FFD2C72E40F}" destId="{5E66B3D7-B726-483B-B9F0-976E9C61BCD0}" srcOrd="0" destOrd="1" presId="urn:microsoft.com/office/officeart/2005/8/layout/vList5"/>
    <dgm:cxn modelId="{4DC35AF6-7D9F-43A4-8C5E-067B9E81D733}" srcId="{E691FB6F-64F5-43FE-9623-4109FAF612E2}" destId="{A7D174B3-9F97-4B75-B976-85674E2F2789}" srcOrd="1" destOrd="0" parTransId="{DED6BDE7-226C-420C-94A6-5D6506D43699}" sibTransId="{E139C4AE-095D-412B-8778-BCFF94503B56}"/>
    <dgm:cxn modelId="{A11557B7-528F-4E2A-8EF9-A4AA5B3A297B}" srcId="{E691FB6F-64F5-43FE-9623-4109FAF612E2}" destId="{15CD5912-0C8F-42F6-94F2-E2A972E82D75}" srcOrd="2" destOrd="0" parTransId="{CB90CCCF-1511-4307-9481-881C5A3C0BA2}" sibTransId="{11D2D109-0162-4E5F-9D09-5B11DE487CE8}"/>
    <dgm:cxn modelId="{951B0AD9-A303-47DF-8304-CA0B0FE9D253}" type="presOf" srcId="{7638A5D7-C676-413B-A7FC-15CA591AA0F3}" destId="{A1C758B4-CF70-4C40-8A35-46CC8764E368}" srcOrd="0" destOrd="3" presId="urn:microsoft.com/office/officeart/2005/8/layout/vList5"/>
    <dgm:cxn modelId="{1307C32D-8716-43A1-9260-BB5FF9461D86}" type="presOf" srcId="{D9BE3251-949C-42EA-AAAE-00D00DFBFC91}" destId="{DD1E2E89-DDA8-4BF2-8C54-C1F6DCACE137}" srcOrd="0" destOrd="0" presId="urn:microsoft.com/office/officeart/2005/8/layout/vList5"/>
    <dgm:cxn modelId="{04A34618-46AE-4B0E-ABE1-DA65C502F6AA}" srcId="{D9BE3251-949C-42EA-AAAE-00D00DFBFC91}" destId="{E60ECBD9-76E5-41AE-B057-8CE2B0EA5C9F}" srcOrd="2" destOrd="0" parTransId="{D882D8DC-B297-4335-88A7-D378D2D05D1D}" sibTransId="{96B83582-C31A-46C1-B630-AFBD8AA0477B}"/>
    <dgm:cxn modelId="{19E3B767-65D4-434A-ABDA-F9FF03D9E866}" type="presOf" srcId="{00E0B941-EFF2-4F72-96B0-AC3A13BE5BCA}" destId="{F5F73DCA-FC4D-4B55-B3F5-F5CD5A2598C9}" srcOrd="0" destOrd="1" presId="urn:microsoft.com/office/officeart/2005/8/layout/vList5"/>
    <dgm:cxn modelId="{CC3BBFAB-89BF-470D-884E-E3C33D12ED50}" srcId="{D9BE3251-949C-42EA-AAAE-00D00DFBFC91}" destId="{00E0B941-EFF2-4F72-96B0-AC3A13BE5BCA}" srcOrd="1" destOrd="0" parTransId="{646CE1F1-EAC5-4DF7-98A5-A385986AF0F0}" sibTransId="{FE7B86B5-F0AC-47DD-BFB4-25A882A830C5}"/>
    <dgm:cxn modelId="{C0B37946-603B-4E2C-80F0-ACB527304E9B}" type="presOf" srcId="{5868124B-DD71-44F1-A2A5-17805CF3F516}" destId="{F5F73DCA-FC4D-4B55-B3F5-F5CD5A2598C9}" srcOrd="0" destOrd="0" presId="urn:microsoft.com/office/officeart/2005/8/layout/vList5"/>
    <dgm:cxn modelId="{0D4EB77D-E92A-4C9C-A74A-56E84A96DE63}" srcId="{5D4E7498-5B2A-4585-9DA1-74C00556D481}" destId="{E691FB6F-64F5-43FE-9623-4109FAF612E2}" srcOrd="0" destOrd="0" parTransId="{4CE86F59-7D76-4F98-956A-1225F7E76B44}" sibTransId="{B6953821-7622-4BBE-B14C-FE3E398A9E1C}"/>
    <dgm:cxn modelId="{D8909C17-DCF6-4FD0-AC5D-938AAE152E3D}" srcId="{223DF8ED-1DC7-4356-82C3-93B0062DC4FF}" destId="{206FACDD-0820-4DA8-A114-7FFD2C72E40F}" srcOrd="1" destOrd="0" parTransId="{657F431E-7747-434F-B03C-1F687CA1DE86}" sibTransId="{3CF87C9E-CD48-43B7-8424-CA28A0E8FC21}"/>
    <dgm:cxn modelId="{8B0556BC-6ECC-4F4D-B572-CDEFFB901293}" srcId="{5D4E7498-5B2A-4585-9DA1-74C00556D481}" destId="{223DF8ED-1DC7-4356-82C3-93B0062DC4FF}" srcOrd="2" destOrd="0" parTransId="{7F210175-942C-4A5F-91E8-B6C9F0CBEDBA}" sibTransId="{CE3D0542-F679-49E2-9D5F-5F1BA920AB9C}"/>
    <dgm:cxn modelId="{DEBB3A9B-7F13-48DE-BE1E-36F11921C344}" srcId="{E691FB6F-64F5-43FE-9623-4109FAF612E2}" destId="{49EDCBD0-98E1-4D47-AD0B-94552DFE6B3A}" srcOrd="0" destOrd="0" parTransId="{E6F6BFF5-C3C8-49C5-B0D5-462E76D12CFC}" sibTransId="{BFECBB15-7ED4-49D2-98DF-00D360CDA856}"/>
    <dgm:cxn modelId="{A88E08DD-47F6-4944-B352-5CDC339B1E46}" type="presOf" srcId="{E691FB6F-64F5-43FE-9623-4109FAF612E2}" destId="{D895814F-A666-4905-AC60-F81C2E9CF75B}" srcOrd="0" destOrd="0" presId="urn:microsoft.com/office/officeart/2005/8/layout/vList5"/>
    <dgm:cxn modelId="{5C576EF4-FEA1-412F-A275-81C3FE685F85}" srcId="{223DF8ED-1DC7-4356-82C3-93B0062DC4FF}" destId="{0B335B1C-FC0F-48B1-9A09-AC694E7C6F8C}" srcOrd="0" destOrd="0" parTransId="{E78AE34A-2BB2-4E4C-AB2E-CE915C4357AF}" sibTransId="{A3063E42-17C2-427F-BA30-A488F9E0445B}"/>
    <dgm:cxn modelId="{B31ADD56-0926-43B9-87AE-3D90999DAB31}" type="presOf" srcId="{E60ECBD9-76E5-41AE-B057-8CE2B0EA5C9F}" destId="{F5F73DCA-FC4D-4B55-B3F5-F5CD5A2598C9}" srcOrd="0" destOrd="2" presId="urn:microsoft.com/office/officeart/2005/8/layout/vList5"/>
    <dgm:cxn modelId="{BE9CE65C-E505-4005-9450-65E931BD161C}" srcId="{223DF8ED-1DC7-4356-82C3-93B0062DC4FF}" destId="{115E4928-2EC7-4A21-8789-6D13CB70B492}" srcOrd="2" destOrd="0" parTransId="{1C33C820-2A56-4338-AE4B-B0F9F282E298}" sibTransId="{CC8874C2-9B30-46E2-A23C-B1245A6354F3}"/>
    <dgm:cxn modelId="{DA202032-FA67-4218-9D9E-89497351D56F}" type="presOf" srcId="{15CD5912-0C8F-42F6-94F2-E2A972E82D75}" destId="{A1C758B4-CF70-4C40-8A35-46CC8764E368}" srcOrd="0" destOrd="2" presId="urn:microsoft.com/office/officeart/2005/8/layout/vList5"/>
    <dgm:cxn modelId="{60095AA1-C777-4C4A-8CF3-3E9A70F6F48B}" type="presParOf" srcId="{7758B203-3300-4A65-8ABC-F895CDF01338}" destId="{34AE5AF7-AAE2-4328-A656-AC7EA710A892}" srcOrd="0" destOrd="0" presId="urn:microsoft.com/office/officeart/2005/8/layout/vList5"/>
    <dgm:cxn modelId="{9E1736E8-8856-4F89-91D1-F0FD1C88D72A}" type="presParOf" srcId="{34AE5AF7-AAE2-4328-A656-AC7EA710A892}" destId="{D895814F-A666-4905-AC60-F81C2E9CF75B}" srcOrd="0" destOrd="0" presId="urn:microsoft.com/office/officeart/2005/8/layout/vList5"/>
    <dgm:cxn modelId="{18211B98-29AB-4894-801F-5283E53FF04E}" type="presParOf" srcId="{34AE5AF7-AAE2-4328-A656-AC7EA710A892}" destId="{A1C758B4-CF70-4C40-8A35-46CC8764E368}" srcOrd="1" destOrd="0" presId="urn:microsoft.com/office/officeart/2005/8/layout/vList5"/>
    <dgm:cxn modelId="{473370B3-A1CB-4633-AAAD-D3D96C42C10A}" type="presParOf" srcId="{7758B203-3300-4A65-8ABC-F895CDF01338}" destId="{452EAB81-884F-48F3-83E3-B4C97B95BA10}" srcOrd="1" destOrd="0" presId="urn:microsoft.com/office/officeart/2005/8/layout/vList5"/>
    <dgm:cxn modelId="{80B4E2D4-FED0-439C-BF01-923CCAFAA925}" type="presParOf" srcId="{7758B203-3300-4A65-8ABC-F895CDF01338}" destId="{CA02ADEF-71E2-4FE0-9D06-390C88037DC1}" srcOrd="2" destOrd="0" presId="urn:microsoft.com/office/officeart/2005/8/layout/vList5"/>
    <dgm:cxn modelId="{54C6779D-2102-40E5-A969-624B093B6BAD}" type="presParOf" srcId="{CA02ADEF-71E2-4FE0-9D06-390C88037DC1}" destId="{DD1E2E89-DDA8-4BF2-8C54-C1F6DCACE137}" srcOrd="0" destOrd="0" presId="urn:microsoft.com/office/officeart/2005/8/layout/vList5"/>
    <dgm:cxn modelId="{5ACE4F64-A59E-49C3-B898-97890A6B769C}" type="presParOf" srcId="{CA02ADEF-71E2-4FE0-9D06-390C88037DC1}" destId="{F5F73DCA-FC4D-4B55-B3F5-F5CD5A2598C9}" srcOrd="1" destOrd="0" presId="urn:microsoft.com/office/officeart/2005/8/layout/vList5"/>
    <dgm:cxn modelId="{8072E077-9FD6-4027-863F-53DACBFDA267}" type="presParOf" srcId="{7758B203-3300-4A65-8ABC-F895CDF01338}" destId="{A30EE1D4-0BE1-46F1-A866-F1000E629A7A}" srcOrd="3" destOrd="0" presId="urn:microsoft.com/office/officeart/2005/8/layout/vList5"/>
    <dgm:cxn modelId="{FAF25863-DD37-4F09-9868-E17A62F8D977}" type="presParOf" srcId="{7758B203-3300-4A65-8ABC-F895CDF01338}" destId="{4E9E8364-7173-4203-BDD2-C54DBAF125B7}" srcOrd="4" destOrd="0" presId="urn:microsoft.com/office/officeart/2005/8/layout/vList5"/>
    <dgm:cxn modelId="{A28F2FB5-10EB-4F6A-AF15-AE50E4556530}" type="presParOf" srcId="{4E9E8364-7173-4203-BDD2-C54DBAF125B7}" destId="{D2C4F2DD-D9AA-425B-BC67-BA9F8819B788}" srcOrd="0" destOrd="0" presId="urn:microsoft.com/office/officeart/2005/8/layout/vList5"/>
    <dgm:cxn modelId="{720974E6-BE4D-46CD-9285-2DF74B24A655}" type="presParOf" srcId="{4E9E8364-7173-4203-BDD2-C54DBAF125B7}" destId="{5E66B3D7-B726-483B-B9F0-976E9C61BCD0}" srcOrd="1" destOrd="0" presId="urn:microsoft.com/office/officeart/2005/8/layout/vList5"/>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988B636-BBA4-4808-B4F5-903A2C15065A}">
      <dsp:nvSpPr>
        <dsp:cNvPr id="0" name=""/>
        <dsp:cNvSpPr/>
      </dsp:nvSpPr>
      <dsp:spPr>
        <a:xfrm>
          <a:off x="0" y="0"/>
          <a:ext cx="6681537" cy="40804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Drivers</a:t>
          </a:r>
          <a:endParaRPr lang="en-US" sz="1800" b="1" kern="1200" dirty="0"/>
        </a:p>
      </dsp:txBody>
      <dsp:txXfrm>
        <a:off x="0" y="0"/>
        <a:ext cx="6681537" cy="408049"/>
      </dsp:txXfrm>
    </dsp:sp>
    <dsp:sp modelId="{AE5942C7-F091-41E8-85B9-BB555C53DAD4}">
      <dsp:nvSpPr>
        <dsp:cNvPr id="0" name=""/>
        <dsp:cNvSpPr/>
      </dsp:nvSpPr>
      <dsp:spPr>
        <a:xfrm>
          <a:off x="0" y="410830"/>
          <a:ext cx="6681537" cy="12433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2139"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smtClean="0"/>
            <a:t>Student-centric service model</a:t>
          </a:r>
          <a:endParaRPr lang="en-US" sz="1600" kern="1200" dirty="0"/>
        </a:p>
        <a:p>
          <a:pPr marL="171450" lvl="1" indent="-171450" algn="l" defTabSz="711200">
            <a:lnSpc>
              <a:spcPct val="90000"/>
            </a:lnSpc>
            <a:spcBef>
              <a:spcPct val="0"/>
            </a:spcBef>
            <a:spcAft>
              <a:spcPct val="20000"/>
            </a:spcAft>
            <a:buChar char="••"/>
          </a:pPr>
          <a:r>
            <a:rPr lang="en-US" sz="1600" kern="1200" dirty="0" smtClean="0"/>
            <a:t>WCTC-wide Collaboration</a:t>
          </a:r>
          <a:endParaRPr lang="en-US" sz="1600" kern="1200" dirty="0"/>
        </a:p>
        <a:p>
          <a:pPr marL="171450" lvl="1" indent="-171450" algn="l" defTabSz="711200">
            <a:lnSpc>
              <a:spcPct val="90000"/>
            </a:lnSpc>
            <a:spcBef>
              <a:spcPct val="0"/>
            </a:spcBef>
            <a:spcAft>
              <a:spcPct val="20000"/>
            </a:spcAft>
            <a:buChar char="••"/>
          </a:pPr>
          <a:r>
            <a:rPr lang="en-US" sz="1600" kern="1200" dirty="0" smtClean="0"/>
            <a:t>Process Streamlining</a:t>
          </a:r>
          <a:endParaRPr lang="en-US" sz="1600" kern="1200" dirty="0"/>
        </a:p>
        <a:p>
          <a:pPr marL="171450" lvl="1" indent="-171450" algn="l" defTabSz="711200">
            <a:lnSpc>
              <a:spcPct val="90000"/>
            </a:lnSpc>
            <a:spcBef>
              <a:spcPct val="0"/>
            </a:spcBef>
            <a:spcAft>
              <a:spcPct val="20000"/>
            </a:spcAft>
            <a:buChar char="••"/>
          </a:pPr>
          <a:r>
            <a:rPr lang="en-US" sz="1600" kern="1200" dirty="0" smtClean="0"/>
            <a:t>Compliance and Security Concerns</a:t>
          </a:r>
          <a:endParaRPr lang="en-US" sz="1600" kern="1200" dirty="0"/>
        </a:p>
        <a:p>
          <a:pPr marL="171450" lvl="1" indent="-171450" algn="l" defTabSz="711200">
            <a:lnSpc>
              <a:spcPct val="90000"/>
            </a:lnSpc>
            <a:spcBef>
              <a:spcPct val="0"/>
            </a:spcBef>
            <a:spcAft>
              <a:spcPct val="20000"/>
            </a:spcAft>
            <a:buChar char="••"/>
          </a:pPr>
          <a:r>
            <a:rPr lang="en-US" sz="1600" kern="1200" dirty="0" smtClean="0"/>
            <a:t>Competitive Advantage</a:t>
          </a:r>
          <a:endParaRPr lang="en-US" sz="1600" kern="1200" dirty="0"/>
        </a:p>
      </dsp:txBody>
      <dsp:txXfrm>
        <a:off x="0" y="410830"/>
        <a:ext cx="6681537" cy="1243331"/>
      </dsp:txXfrm>
    </dsp:sp>
    <dsp:sp modelId="{AA87DE4E-9E86-48E7-960C-0C7097E7705D}">
      <dsp:nvSpPr>
        <dsp:cNvPr id="0" name=""/>
        <dsp:cNvSpPr/>
      </dsp:nvSpPr>
      <dsp:spPr>
        <a:xfrm>
          <a:off x="0" y="1654162"/>
          <a:ext cx="6681537" cy="40804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ERP Delivers</a:t>
          </a:r>
          <a:endParaRPr lang="en-US" sz="1800" b="1" kern="1200" dirty="0"/>
        </a:p>
      </dsp:txBody>
      <dsp:txXfrm>
        <a:off x="0" y="1654162"/>
        <a:ext cx="6681537" cy="408049"/>
      </dsp:txXfrm>
    </dsp:sp>
    <dsp:sp modelId="{E0EF5784-1BDD-4724-B0BF-05E5672C8F25}">
      <dsp:nvSpPr>
        <dsp:cNvPr id="0" name=""/>
        <dsp:cNvSpPr/>
      </dsp:nvSpPr>
      <dsp:spPr>
        <a:xfrm>
          <a:off x="0" y="2062212"/>
          <a:ext cx="6681537" cy="12032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2139"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smtClean="0"/>
            <a:t>Enhanced Student Service</a:t>
          </a:r>
          <a:endParaRPr lang="en-US" sz="1600" kern="1200" dirty="0"/>
        </a:p>
        <a:p>
          <a:pPr marL="171450" lvl="1" indent="-171450" algn="l" defTabSz="711200">
            <a:lnSpc>
              <a:spcPct val="90000"/>
            </a:lnSpc>
            <a:spcBef>
              <a:spcPct val="0"/>
            </a:spcBef>
            <a:spcAft>
              <a:spcPct val="20000"/>
            </a:spcAft>
            <a:buChar char="••"/>
          </a:pPr>
          <a:r>
            <a:rPr lang="en-US" sz="1600" kern="1200" dirty="0" smtClean="0"/>
            <a:t>Consistent View of Key Data:  “Single View of the Truth”</a:t>
          </a:r>
          <a:endParaRPr lang="en-US" sz="1600" kern="1200" dirty="0"/>
        </a:p>
        <a:p>
          <a:pPr marL="171450" lvl="1" indent="-171450" algn="l" defTabSz="711200">
            <a:lnSpc>
              <a:spcPct val="90000"/>
            </a:lnSpc>
            <a:spcBef>
              <a:spcPct val="0"/>
            </a:spcBef>
            <a:spcAft>
              <a:spcPct val="20000"/>
            </a:spcAft>
            <a:buChar char="••"/>
          </a:pPr>
          <a:r>
            <a:rPr lang="en-US" sz="1600" kern="1200" dirty="0" smtClean="0"/>
            <a:t>Embedded ‘best practice’ business processes</a:t>
          </a:r>
          <a:endParaRPr lang="en-US" sz="1600" kern="1200" dirty="0"/>
        </a:p>
        <a:p>
          <a:pPr marL="171450" lvl="1" indent="-171450" algn="l" defTabSz="711200">
            <a:lnSpc>
              <a:spcPct val="90000"/>
            </a:lnSpc>
            <a:spcBef>
              <a:spcPct val="0"/>
            </a:spcBef>
            <a:spcAft>
              <a:spcPct val="20000"/>
            </a:spcAft>
            <a:buChar char="••"/>
          </a:pPr>
          <a:r>
            <a:rPr lang="en-US" sz="1600" kern="1200" dirty="0" smtClean="0"/>
            <a:t>Foundational application architecture and upgrade path for future releases</a:t>
          </a:r>
          <a:endParaRPr lang="en-US" sz="1600" kern="1200" dirty="0"/>
        </a:p>
      </dsp:txBody>
      <dsp:txXfrm>
        <a:off x="0" y="2062212"/>
        <a:ext cx="6681537" cy="1203224"/>
      </dsp:txXfrm>
    </dsp:sp>
    <dsp:sp modelId="{21012ADE-CCA6-4DDF-B810-B8CE4EA8D61B}">
      <dsp:nvSpPr>
        <dsp:cNvPr id="0" name=""/>
        <dsp:cNvSpPr/>
      </dsp:nvSpPr>
      <dsp:spPr>
        <a:xfrm>
          <a:off x="0" y="3265436"/>
          <a:ext cx="6681537" cy="40804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b="1" kern="1200" dirty="0" smtClean="0"/>
            <a:t>Challenges</a:t>
          </a:r>
          <a:endParaRPr lang="en-US" sz="1800" b="1" kern="1200" dirty="0"/>
        </a:p>
      </dsp:txBody>
      <dsp:txXfrm>
        <a:off x="0" y="3265436"/>
        <a:ext cx="6681537" cy="408049"/>
      </dsp:txXfrm>
    </dsp:sp>
    <dsp:sp modelId="{2EE6C19C-C33C-403B-826B-C35304D45C89}">
      <dsp:nvSpPr>
        <dsp:cNvPr id="0" name=""/>
        <dsp:cNvSpPr/>
      </dsp:nvSpPr>
      <dsp:spPr>
        <a:xfrm>
          <a:off x="0" y="3673486"/>
          <a:ext cx="6681537" cy="8823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2139"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smtClean="0"/>
            <a:t>Compete View of ALL Enterprise/Organizational Data</a:t>
          </a:r>
          <a:endParaRPr lang="en-US" sz="1600" kern="1200" dirty="0"/>
        </a:p>
        <a:p>
          <a:pPr marL="171450" lvl="1" indent="-171450" algn="l" defTabSz="711200">
            <a:lnSpc>
              <a:spcPct val="90000"/>
            </a:lnSpc>
            <a:spcBef>
              <a:spcPct val="0"/>
            </a:spcBef>
            <a:spcAft>
              <a:spcPct val="20000"/>
            </a:spcAft>
            <a:buChar char="••"/>
          </a:pPr>
          <a:r>
            <a:rPr lang="en-US" sz="1600" kern="1200" dirty="0" smtClean="0"/>
            <a:t>WCTC-wide Implementation and Execution of Common Processes</a:t>
          </a:r>
          <a:endParaRPr lang="en-US" sz="1600" kern="1200" dirty="0"/>
        </a:p>
        <a:p>
          <a:pPr marL="114300" lvl="1" indent="-114300" algn="l" defTabSz="533400">
            <a:lnSpc>
              <a:spcPct val="90000"/>
            </a:lnSpc>
            <a:spcBef>
              <a:spcPct val="0"/>
            </a:spcBef>
            <a:spcAft>
              <a:spcPct val="20000"/>
            </a:spcAft>
            <a:buChar char="••"/>
          </a:pPr>
          <a:endParaRPr lang="en-US" sz="1200" kern="1200" dirty="0"/>
        </a:p>
        <a:p>
          <a:pPr marL="114300" lvl="1" indent="-114300" algn="l" defTabSz="533400">
            <a:lnSpc>
              <a:spcPct val="90000"/>
            </a:lnSpc>
            <a:spcBef>
              <a:spcPct val="0"/>
            </a:spcBef>
            <a:spcAft>
              <a:spcPct val="20000"/>
            </a:spcAft>
            <a:buChar char="••"/>
          </a:pPr>
          <a:endParaRPr lang="en-US" sz="1200" kern="1200" dirty="0"/>
        </a:p>
      </dsp:txBody>
      <dsp:txXfrm>
        <a:off x="0" y="3673486"/>
        <a:ext cx="6681537" cy="882364"/>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EC32964-7AF6-4878-B658-1C757D31576B}">
      <dsp:nvSpPr>
        <dsp:cNvPr id="0" name=""/>
        <dsp:cNvSpPr/>
      </dsp:nvSpPr>
      <dsp:spPr>
        <a:xfrm>
          <a:off x="3098044" y="2764229"/>
          <a:ext cx="3139477" cy="140298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57150" lvl="1" indent="-57150" algn="r" defTabSz="444500">
            <a:lnSpc>
              <a:spcPct val="90000"/>
            </a:lnSpc>
            <a:spcBef>
              <a:spcPct val="0"/>
            </a:spcBef>
            <a:spcAft>
              <a:spcPct val="15000"/>
            </a:spcAft>
            <a:buChar char="••"/>
          </a:pPr>
          <a:r>
            <a:rPr lang="en-US" sz="1000" b="0" i="0" u="none" strike="noStrike" kern="1200" dirty="0" smtClean="0">
              <a:solidFill>
                <a:srgbClr val="000000"/>
              </a:solidFill>
              <a:latin typeface="Arial"/>
            </a:rPr>
            <a:t>Reporting &amp; Analytics</a:t>
          </a:r>
        </a:p>
        <a:p>
          <a:pPr marL="57150" lvl="1" indent="-57150" algn="r" defTabSz="444500">
            <a:lnSpc>
              <a:spcPct val="90000"/>
            </a:lnSpc>
            <a:spcBef>
              <a:spcPct val="0"/>
            </a:spcBef>
            <a:spcAft>
              <a:spcPct val="15000"/>
            </a:spcAft>
            <a:buChar char="••"/>
          </a:pPr>
          <a:r>
            <a:rPr lang="en-US" sz="1000" b="0" i="0" u="none" strike="noStrike" kern="1200" dirty="0" smtClean="0">
              <a:solidFill>
                <a:srgbClr val="000000"/>
              </a:solidFill>
              <a:latin typeface="Arial"/>
            </a:rPr>
            <a:t>Management Dashboard</a:t>
          </a:r>
        </a:p>
        <a:p>
          <a:pPr marL="57150" lvl="1" indent="-57150" algn="r" defTabSz="444500">
            <a:lnSpc>
              <a:spcPct val="90000"/>
            </a:lnSpc>
            <a:spcBef>
              <a:spcPct val="0"/>
            </a:spcBef>
            <a:spcAft>
              <a:spcPct val="15000"/>
            </a:spcAft>
            <a:buChar char="••"/>
          </a:pPr>
          <a:r>
            <a:rPr lang="en-US" sz="1000" b="0" i="0" u="none" strike="noStrike" kern="1200" dirty="0" smtClean="0">
              <a:solidFill>
                <a:srgbClr val="000000"/>
              </a:solidFill>
              <a:latin typeface="Arial"/>
            </a:rPr>
            <a:t>Health &amp; Safety Compliance</a:t>
          </a:r>
        </a:p>
        <a:p>
          <a:pPr marL="57150" lvl="1" indent="-57150" algn="r" defTabSz="444500">
            <a:lnSpc>
              <a:spcPct val="90000"/>
            </a:lnSpc>
            <a:spcBef>
              <a:spcPct val="0"/>
            </a:spcBef>
            <a:spcAft>
              <a:spcPct val="15000"/>
            </a:spcAft>
            <a:buChar char="••"/>
          </a:pPr>
          <a:r>
            <a:rPr lang="en-US" sz="1000" b="0" i="0" u="none" strike="noStrike" kern="1200" dirty="0" smtClean="0">
              <a:solidFill>
                <a:srgbClr val="000000"/>
              </a:solidFill>
              <a:latin typeface="Arial"/>
            </a:rPr>
            <a:t>Document Management</a:t>
          </a:r>
        </a:p>
        <a:p>
          <a:pPr marL="57150" lvl="1" indent="-57150" algn="r" defTabSz="444500">
            <a:lnSpc>
              <a:spcPct val="90000"/>
            </a:lnSpc>
            <a:spcBef>
              <a:spcPct val="0"/>
            </a:spcBef>
            <a:spcAft>
              <a:spcPct val="15000"/>
            </a:spcAft>
            <a:buChar char="••"/>
          </a:pPr>
          <a:r>
            <a:rPr lang="en-US" sz="1000" b="0" i="0" u="none" strike="noStrike" kern="1200" dirty="0" smtClean="0">
              <a:solidFill>
                <a:srgbClr val="000000"/>
              </a:solidFill>
              <a:latin typeface="Arial"/>
            </a:rPr>
            <a:t>Portal</a:t>
          </a:r>
        </a:p>
        <a:p>
          <a:pPr marL="57150" lvl="1" indent="-57150" algn="r" defTabSz="444500">
            <a:lnSpc>
              <a:spcPct val="90000"/>
            </a:lnSpc>
            <a:spcBef>
              <a:spcPct val="0"/>
            </a:spcBef>
            <a:spcAft>
              <a:spcPct val="15000"/>
            </a:spcAft>
            <a:buChar char="••"/>
          </a:pPr>
          <a:r>
            <a:rPr lang="en-US" sz="1000" b="0" i="0" u="none" strike="noStrike" kern="1200" smtClean="0">
              <a:solidFill>
                <a:srgbClr val="000000"/>
              </a:solidFill>
              <a:latin typeface="Arial"/>
            </a:rPr>
            <a:t>Workflow</a:t>
          </a:r>
          <a:endParaRPr lang="en-US" sz="1000" b="0" i="0" u="none" strike="noStrike" kern="1200" dirty="0" smtClean="0">
            <a:solidFill>
              <a:srgbClr val="000000"/>
            </a:solidFill>
            <a:latin typeface="Arial"/>
          </a:endParaRPr>
        </a:p>
        <a:p>
          <a:pPr marL="57150" lvl="1" indent="-57150" algn="r" defTabSz="444500">
            <a:lnSpc>
              <a:spcPct val="90000"/>
            </a:lnSpc>
            <a:spcBef>
              <a:spcPct val="0"/>
            </a:spcBef>
            <a:spcAft>
              <a:spcPct val="15000"/>
            </a:spcAft>
            <a:buChar char="••"/>
          </a:pPr>
          <a:endParaRPr lang="en-US" sz="1000" b="0" i="0" u="none" strike="noStrike" kern="1200" dirty="0" smtClean="0">
            <a:solidFill>
              <a:srgbClr val="000000"/>
            </a:solidFill>
            <a:latin typeface="Arial"/>
          </a:endParaRPr>
        </a:p>
        <a:p>
          <a:pPr marL="57150" lvl="1" indent="-57150" algn="r" defTabSz="444500">
            <a:lnSpc>
              <a:spcPct val="90000"/>
            </a:lnSpc>
            <a:spcBef>
              <a:spcPct val="0"/>
            </a:spcBef>
            <a:spcAft>
              <a:spcPct val="15000"/>
            </a:spcAft>
            <a:buChar char="••"/>
          </a:pPr>
          <a:endParaRPr lang="en-US" sz="1000" b="0" i="0" u="none" strike="noStrike" kern="1200" dirty="0" smtClean="0">
            <a:solidFill>
              <a:srgbClr val="000000"/>
            </a:solidFill>
            <a:latin typeface="Arial"/>
          </a:endParaRPr>
        </a:p>
        <a:p>
          <a:pPr marL="57150" lvl="1" indent="-57150" algn="r" defTabSz="444500">
            <a:lnSpc>
              <a:spcPct val="90000"/>
            </a:lnSpc>
            <a:spcBef>
              <a:spcPct val="0"/>
            </a:spcBef>
            <a:spcAft>
              <a:spcPct val="15000"/>
            </a:spcAft>
            <a:buChar char="••"/>
          </a:pPr>
          <a:endParaRPr lang="en-US" sz="1000" b="0" i="0" u="none" strike="noStrike" kern="1200" dirty="0" smtClean="0">
            <a:solidFill>
              <a:srgbClr val="000000"/>
            </a:solidFill>
            <a:latin typeface="Arial"/>
          </a:endParaRPr>
        </a:p>
        <a:p>
          <a:pPr marL="57150" lvl="1" indent="-57150" algn="r" defTabSz="444500">
            <a:lnSpc>
              <a:spcPct val="90000"/>
            </a:lnSpc>
            <a:spcBef>
              <a:spcPct val="0"/>
            </a:spcBef>
            <a:spcAft>
              <a:spcPct val="15000"/>
            </a:spcAft>
            <a:buChar char="••"/>
          </a:pPr>
          <a:endParaRPr lang="en-US" sz="1000" b="0" i="0" u="none" strike="noStrike" kern="1200" dirty="0" smtClean="0">
            <a:solidFill>
              <a:srgbClr val="000000"/>
            </a:solidFill>
            <a:latin typeface="Arial"/>
          </a:endParaRPr>
        </a:p>
        <a:p>
          <a:pPr marL="57150" lvl="1" indent="-57150" algn="r" defTabSz="444500">
            <a:lnSpc>
              <a:spcPct val="90000"/>
            </a:lnSpc>
            <a:spcBef>
              <a:spcPct val="0"/>
            </a:spcBef>
            <a:spcAft>
              <a:spcPct val="15000"/>
            </a:spcAft>
            <a:buChar char="••"/>
          </a:pPr>
          <a:endParaRPr lang="en-US" sz="1000" b="0" i="0" u="none" strike="noStrike" kern="1200" dirty="0" smtClean="0">
            <a:solidFill>
              <a:srgbClr val="000000"/>
            </a:solidFill>
            <a:latin typeface="Arial"/>
          </a:endParaRPr>
        </a:p>
        <a:p>
          <a:pPr marL="57150" lvl="1" indent="-57150" algn="r" defTabSz="444500">
            <a:lnSpc>
              <a:spcPct val="90000"/>
            </a:lnSpc>
            <a:spcBef>
              <a:spcPct val="0"/>
            </a:spcBef>
            <a:spcAft>
              <a:spcPct val="15000"/>
            </a:spcAft>
            <a:buChar char="••"/>
          </a:pPr>
          <a:endParaRPr lang="en-US" sz="1000" b="0" i="0" u="none" strike="noStrike" kern="1200" dirty="0" smtClean="0">
            <a:solidFill>
              <a:srgbClr val="000000"/>
            </a:solidFill>
            <a:latin typeface="Arial"/>
          </a:endParaRPr>
        </a:p>
        <a:p>
          <a:pPr marL="57150" lvl="1" indent="-57150" algn="r" defTabSz="444500">
            <a:lnSpc>
              <a:spcPct val="90000"/>
            </a:lnSpc>
            <a:spcBef>
              <a:spcPct val="0"/>
            </a:spcBef>
            <a:spcAft>
              <a:spcPct val="15000"/>
            </a:spcAft>
            <a:buChar char="••"/>
          </a:pPr>
          <a:endParaRPr lang="en-US" sz="1000" b="0" i="0" u="none" strike="noStrike" kern="1200" dirty="0" smtClean="0">
            <a:solidFill>
              <a:srgbClr val="000000"/>
            </a:solidFill>
            <a:latin typeface="Arial"/>
          </a:endParaRPr>
        </a:p>
      </dsp:txBody>
      <dsp:txXfrm>
        <a:off x="4039887" y="3114976"/>
        <a:ext cx="2197634" cy="1052241"/>
      </dsp:txXfrm>
    </dsp:sp>
    <dsp:sp modelId="{521B4074-2C5D-4487-8A09-3E5513E7584C}">
      <dsp:nvSpPr>
        <dsp:cNvPr id="0" name=""/>
        <dsp:cNvSpPr/>
      </dsp:nvSpPr>
      <dsp:spPr>
        <a:xfrm>
          <a:off x="-105421" y="2792595"/>
          <a:ext cx="2836837" cy="1346257"/>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57150" lvl="1" indent="-57150" algn="l" defTabSz="444500">
            <a:lnSpc>
              <a:spcPct val="90000"/>
            </a:lnSpc>
            <a:spcBef>
              <a:spcPct val="0"/>
            </a:spcBef>
            <a:spcAft>
              <a:spcPct val="15000"/>
            </a:spcAft>
            <a:buChar char="••"/>
          </a:pPr>
          <a:r>
            <a:rPr lang="en-US" sz="1000" kern="1200" dirty="0" smtClean="0"/>
            <a:t>Recruiting</a:t>
          </a:r>
        </a:p>
        <a:p>
          <a:pPr marL="57150" lvl="1" indent="-57150" algn="l" defTabSz="444500">
            <a:lnSpc>
              <a:spcPct val="90000"/>
            </a:lnSpc>
            <a:spcBef>
              <a:spcPct val="0"/>
            </a:spcBef>
            <a:spcAft>
              <a:spcPct val="15000"/>
            </a:spcAft>
            <a:buChar char="••"/>
          </a:pPr>
          <a:r>
            <a:rPr lang="en-US" sz="1000" kern="1200" dirty="0" smtClean="0"/>
            <a:t>Workforce Management</a:t>
          </a:r>
        </a:p>
        <a:p>
          <a:pPr marL="57150" lvl="1" indent="-57150" algn="l" defTabSz="444500">
            <a:lnSpc>
              <a:spcPct val="90000"/>
            </a:lnSpc>
            <a:spcBef>
              <a:spcPct val="0"/>
            </a:spcBef>
            <a:spcAft>
              <a:spcPct val="15000"/>
            </a:spcAft>
            <a:buChar char="••"/>
          </a:pPr>
          <a:r>
            <a:rPr lang="en-US" sz="1000" kern="1200" dirty="0" smtClean="0"/>
            <a:t>Payroll</a:t>
          </a:r>
        </a:p>
      </dsp:txBody>
      <dsp:txXfrm>
        <a:off x="-105421" y="3129159"/>
        <a:ext cx="1985786" cy="1009692"/>
      </dsp:txXfrm>
    </dsp:sp>
    <dsp:sp modelId="{2529453C-DB70-4653-8A6B-1AE853F3241C}">
      <dsp:nvSpPr>
        <dsp:cNvPr id="0" name=""/>
        <dsp:cNvSpPr/>
      </dsp:nvSpPr>
      <dsp:spPr>
        <a:xfrm>
          <a:off x="3129228" y="-65791"/>
          <a:ext cx="3077108" cy="170239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57150" lvl="1" indent="-57150" algn="r" defTabSz="444500">
            <a:lnSpc>
              <a:spcPct val="90000"/>
            </a:lnSpc>
            <a:spcBef>
              <a:spcPct val="0"/>
            </a:spcBef>
            <a:spcAft>
              <a:spcPct val="15000"/>
            </a:spcAft>
            <a:buChar char="••"/>
          </a:pPr>
          <a:endParaRPr lang="en-US" sz="1000" b="0" kern="1200" dirty="0" smtClean="0"/>
        </a:p>
        <a:p>
          <a:pPr marL="57150" lvl="1" indent="-57150" algn="r" defTabSz="444500">
            <a:lnSpc>
              <a:spcPct val="90000"/>
            </a:lnSpc>
            <a:spcBef>
              <a:spcPct val="0"/>
            </a:spcBef>
            <a:spcAft>
              <a:spcPct val="15000"/>
            </a:spcAft>
            <a:buChar char="••"/>
          </a:pPr>
          <a:endParaRPr lang="en-US" sz="1000" b="0" kern="1200" dirty="0" smtClean="0"/>
        </a:p>
        <a:p>
          <a:pPr marL="57150" lvl="1" indent="-57150" algn="r" defTabSz="444500">
            <a:lnSpc>
              <a:spcPct val="90000"/>
            </a:lnSpc>
            <a:spcBef>
              <a:spcPct val="0"/>
            </a:spcBef>
            <a:spcAft>
              <a:spcPct val="15000"/>
            </a:spcAft>
            <a:buChar char="••"/>
          </a:pPr>
          <a:r>
            <a:rPr lang="en-US" sz="1000" b="0" kern="1200" dirty="0" smtClean="0"/>
            <a:t>General Ledger (GL)</a:t>
          </a:r>
        </a:p>
        <a:p>
          <a:pPr marL="57150" lvl="1" indent="-57150" algn="r" defTabSz="444500">
            <a:lnSpc>
              <a:spcPct val="90000"/>
            </a:lnSpc>
            <a:spcBef>
              <a:spcPct val="0"/>
            </a:spcBef>
            <a:spcAft>
              <a:spcPct val="15000"/>
            </a:spcAft>
            <a:buChar char="••"/>
          </a:pPr>
          <a:r>
            <a:rPr lang="en-US" sz="1000" b="0" kern="1200" dirty="0" smtClean="0"/>
            <a:t>Accounts Payable (AP) </a:t>
          </a:r>
        </a:p>
        <a:p>
          <a:pPr marL="57150" lvl="1" indent="-57150" algn="r" defTabSz="444500">
            <a:lnSpc>
              <a:spcPct val="90000"/>
            </a:lnSpc>
            <a:spcBef>
              <a:spcPct val="0"/>
            </a:spcBef>
            <a:spcAft>
              <a:spcPct val="15000"/>
            </a:spcAft>
            <a:buChar char="••"/>
          </a:pPr>
          <a:r>
            <a:rPr lang="en-US" sz="1000" b="0" kern="1200" dirty="0" smtClean="0"/>
            <a:t>Accounts Receivable (AR)</a:t>
          </a:r>
        </a:p>
        <a:p>
          <a:pPr marL="57150" lvl="1" indent="-57150" algn="r" defTabSz="444500">
            <a:lnSpc>
              <a:spcPct val="90000"/>
            </a:lnSpc>
            <a:spcBef>
              <a:spcPct val="0"/>
            </a:spcBef>
            <a:spcAft>
              <a:spcPct val="15000"/>
            </a:spcAft>
            <a:buChar char="••"/>
          </a:pPr>
          <a:r>
            <a:rPr lang="en-US" sz="1000" b="0" kern="1200" dirty="0" smtClean="0"/>
            <a:t>Asset &amp; Inventory</a:t>
          </a:r>
        </a:p>
        <a:p>
          <a:pPr marL="57150" lvl="1" indent="-57150" algn="r" defTabSz="444500">
            <a:lnSpc>
              <a:spcPct val="90000"/>
            </a:lnSpc>
            <a:spcBef>
              <a:spcPct val="0"/>
            </a:spcBef>
            <a:spcAft>
              <a:spcPct val="15000"/>
            </a:spcAft>
            <a:buChar char="••"/>
          </a:pPr>
          <a:r>
            <a:rPr lang="en-US" sz="1000" b="0" kern="1200" dirty="0" smtClean="0"/>
            <a:t>Treasury (Cash Management)</a:t>
          </a:r>
        </a:p>
        <a:p>
          <a:pPr marL="57150" lvl="1" indent="-57150" algn="r" defTabSz="444500">
            <a:lnSpc>
              <a:spcPct val="90000"/>
            </a:lnSpc>
            <a:spcBef>
              <a:spcPct val="0"/>
            </a:spcBef>
            <a:spcAft>
              <a:spcPct val="15000"/>
            </a:spcAft>
            <a:buChar char="••"/>
          </a:pPr>
          <a:r>
            <a:rPr lang="en-US" sz="1000" b="0" i="0" u="none" strike="noStrike" kern="1200" dirty="0" smtClean="0">
              <a:solidFill>
                <a:srgbClr val="000000"/>
              </a:solidFill>
              <a:latin typeface="Arial"/>
            </a:rPr>
            <a:t>Budget </a:t>
          </a:r>
          <a:r>
            <a:rPr lang="en-US" sz="1000" b="0" i="0" u="none" strike="noStrike" kern="1200" dirty="0" err="1" smtClean="0">
              <a:solidFill>
                <a:srgbClr val="000000"/>
              </a:solidFill>
              <a:latin typeface="Arial"/>
            </a:rPr>
            <a:t>Devt</a:t>
          </a:r>
          <a:r>
            <a:rPr lang="en-US" sz="1000" b="0" i="0" u="none" strike="noStrike" kern="1200" dirty="0" smtClean="0">
              <a:solidFill>
                <a:srgbClr val="000000"/>
              </a:solidFill>
              <a:latin typeface="Arial"/>
            </a:rPr>
            <a:t> &amp; Position Control</a:t>
          </a:r>
          <a:endParaRPr lang="en-US" sz="1000" b="0" kern="1200" dirty="0" smtClean="0"/>
        </a:p>
        <a:p>
          <a:pPr marL="57150" lvl="1" indent="-57150" algn="r" defTabSz="444500">
            <a:lnSpc>
              <a:spcPct val="90000"/>
            </a:lnSpc>
            <a:spcBef>
              <a:spcPct val="0"/>
            </a:spcBef>
            <a:spcAft>
              <a:spcPct val="15000"/>
            </a:spcAft>
            <a:buChar char="••"/>
          </a:pPr>
          <a:r>
            <a:rPr lang="en-US" sz="1000" b="0" i="0" u="none" strike="noStrike" kern="1200" dirty="0" smtClean="0">
              <a:solidFill>
                <a:srgbClr val="000000"/>
              </a:solidFill>
              <a:latin typeface="Arial"/>
            </a:rPr>
            <a:t>Research &amp; Project Accounting  </a:t>
          </a:r>
          <a:endParaRPr lang="en-US" sz="1000" b="0" kern="1200" dirty="0" smtClean="0"/>
        </a:p>
        <a:p>
          <a:pPr marL="57150" lvl="1" indent="-57150" algn="l" defTabSz="444500">
            <a:lnSpc>
              <a:spcPct val="90000"/>
            </a:lnSpc>
            <a:spcBef>
              <a:spcPct val="0"/>
            </a:spcBef>
            <a:spcAft>
              <a:spcPct val="15000"/>
            </a:spcAft>
            <a:buChar char="••"/>
          </a:pPr>
          <a:endParaRPr lang="en-US" sz="1000" b="0" kern="1200" dirty="0" smtClean="0"/>
        </a:p>
      </dsp:txBody>
      <dsp:txXfrm>
        <a:off x="4052361" y="-65791"/>
        <a:ext cx="2153975" cy="1276797"/>
      </dsp:txXfrm>
    </dsp:sp>
    <dsp:sp modelId="{17DEEC3E-2170-40C9-81FD-79BCCA6EBCDE}">
      <dsp:nvSpPr>
        <dsp:cNvPr id="0" name=""/>
        <dsp:cNvSpPr/>
      </dsp:nvSpPr>
      <dsp:spPr>
        <a:xfrm>
          <a:off x="-79162" y="-35150"/>
          <a:ext cx="2712119" cy="164111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t" anchorCtr="0">
          <a:noAutofit/>
        </a:bodyPr>
        <a:lstStyle/>
        <a:p>
          <a:pPr marL="57150" lvl="1" indent="-57150" algn="l" defTabSz="444500">
            <a:lnSpc>
              <a:spcPct val="90000"/>
            </a:lnSpc>
            <a:spcBef>
              <a:spcPct val="0"/>
            </a:spcBef>
            <a:spcAft>
              <a:spcPct val="15000"/>
            </a:spcAft>
            <a:buChar char="••"/>
          </a:pPr>
          <a:endParaRPr lang="en-US" sz="1000" kern="1200" dirty="0"/>
        </a:p>
        <a:p>
          <a:pPr marL="57150" lvl="1" indent="-57150" algn="l" defTabSz="444500">
            <a:lnSpc>
              <a:spcPct val="90000"/>
            </a:lnSpc>
            <a:spcBef>
              <a:spcPct val="0"/>
            </a:spcBef>
            <a:spcAft>
              <a:spcPct val="15000"/>
            </a:spcAft>
            <a:buChar char="••"/>
          </a:pPr>
          <a:endParaRPr lang="en-US" sz="1000" kern="1200" dirty="0"/>
        </a:p>
        <a:p>
          <a:pPr marL="57150" lvl="1" indent="-57150" algn="l" defTabSz="444500">
            <a:lnSpc>
              <a:spcPct val="90000"/>
            </a:lnSpc>
            <a:spcBef>
              <a:spcPct val="0"/>
            </a:spcBef>
            <a:spcAft>
              <a:spcPct val="15000"/>
            </a:spcAft>
            <a:buChar char="••"/>
          </a:pPr>
          <a:r>
            <a:rPr lang="en-US" sz="1000" kern="1200" dirty="0" smtClean="0"/>
            <a:t>Student &amp; Academic Records</a:t>
          </a:r>
          <a:endParaRPr lang="en-US" sz="1000" kern="1200" dirty="0"/>
        </a:p>
        <a:p>
          <a:pPr marL="57150" lvl="1" indent="-57150" algn="l" defTabSz="444500">
            <a:lnSpc>
              <a:spcPct val="90000"/>
            </a:lnSpc>
            <a:spcBef>
              <a:spcPct val="0"/>
            </a:spcBef>
            <a:spcAft>
              <a:spcPct val="15000"/>
            </a:spcAft>
            <a:buChar char="••"/>
          </a:pPr>
          <a:r>
            <a:rPr lang="en-US" sz="1000" kern="1200" dirty="0" smtClean="0"/>
            <a:t>Recruiting &amp; Admissions</a:t>
          </a:r>
          <a:endParaRPr lang="en-US" sz="1000" kern="1200" dirty="0"/>
        </a:p>
        <a:p>
          <a:pPr marL="57150" lvl="1" indent="-57150" algn="l" defTabSz="444500">
            <a:lnSpc>
              <a:spcPct val="90000"/>
            </a:lnSpc>
            <a:spcBef>
              <a:spcPct val="0"/>
            </a:spcBef>
            <a:spcAft>
              <a:spcPct val="15000"/>
            </a:spcAft>
            <a:buChar char="••"/>
          </a:pPr>
          <a:r>
            <a:rPr lang="en-US" sz="1000" kern="1200" dirty="0" smtClean="0"/>
            <a:t>Scheduling &amp; Registration</a:t>
          </a:r>
          <a:endParaRPr lang="en-US" sz="1000" kern="1200" dirty="0"/>
        </a:p>
        <a:p>
          <a:pPr marL="57150" lvl="1" indent="-57150" algn="l" defTabSz="444500">
            <a:lnSpc>
              <a:spcPct val="90000"/>
            </a:lnSpc>
            <a:spcBef>
              <a:spcPct val="0"/>
            </a:spcBef>
            <a:spcAft>
              <a:spcPct val="15000"/>
            </a:spcAft>
            <a:buChar char="••"/>
          </a:pPr>
          <a:r>
            <a:rPr lang="en-US" sz="1000" kern="1200" dirty="0" smtClean="0"/>
            <a:t>Academic Affairs</a:t>
          </a:r>
          <a:endParaRPr lang="en-US" sz="1000" kern="1200" dirty="0"/>
        </a:p>
        <a:p>
          <a:pPr marL="57150" lvl="1" indent="-57150" algn="l" defTabSz="444500">
            <a:lnSpc>
              <a:spcPct val="90000"/>
            </a:lnSpc>
            <a:spcBef>
              <a:spcPct val="0"/>
            </a:spcBef>
            <a:spcAft>
              <a:spcPct val="15000"/>
            </a:spcAft>
            <a:buChar char="••"/>
          </a:pPr>
          <a:r>
            <a:rPr lang="en-US" sz="1000" kern="1200" dirty="0" smtClean="0"/>
            <a:t>Student Services</a:t>
          </a:r>
          <a:endParaRPr lang="en-US" sz="1000" kern="1200" dirty="0"/>
        </a:p>
        <a:p>
          <a:pPr marL="57150" lvl="1" indent="-57150" algn="l" defTabSz="444500">
            <a:lnSpc>
              <a:spcPct val="90000"/>
            </a:lnSpc>
            <a:spcBef>
              <a:spcPct val="0"/>
            </a:spcBef>
            <a:spcAft>
              <a:spcPct val="15000"/>
            </a:spcAft>
            <a:buChar char="••"/>
          </a:pPr>
          <a:r>
            <a:rPr lang="en-US" sz="1000" kern="1200" dirty="0" smtClean="0"/>
            <a:t>Financial Aid</a:t>
          </a:r>
          <a:endParaRPr lang="en-US" sz="1000" kern="1200" dirty="0"/>
        </a:p>
        <a:p>
          <a:pPr marL="57150" lvl="1" indent="-57150" algn="l" defTabSz="444500">
            <a:lnSpc>
              <a:spcPct val="90000"/>
            </a:lnSpc>
            <a:spcBef>
              <a:spcPct val="0"/>
            </a:spcBef>
            <a:spcAft>
              <a:spcPct val="15000"/>
            </a:spcAft>
            <a:buChar char="••"/>
          </a:pPr>
          <a:r>
            <a:rPr lang="en-US" sz="1000" kern="1200" dirty="0" smtClean="0"/>
            <a:t>Student Financials</a:t>
          </a:r>
          <a:endParaRPr lang="en-US" sz="1000" kern="1200" dirty="0"/>
        </a:p>
        <a:p>
          <a:pPr marL="57150" lvl="1" indent="-57150" algn="l" defTabSz="444500">
            <a:lnSpc>
              <a:spcPct val="90000"/>
            </a:lnSpc>
            <a:spcBef>
              <a:spcPct val="0"/>
            </a:spcBef>
            <a:spcAft>
              <a:spcPct val="15000"/>
            </a:spcAft>
            <a:buChar char="••"/>
          </a:pPr>
          <a:endParaRPr lang="en-US" sz="1000" kern="1200" dirty="0"/>
        </a:p>
        <a:p>
          <a:pPr marL="57150" lvl="1" indent="-57150" algn="l" defTabSz="222250">
            <a:lnSpc>
              <a:spcPct val="90000"/>
            </a:lnSpc>
            <a:spcBef>
              <a:spcPct val="0"/>
            </a:spcBef>
            <a:spcAft>
              <a:spcPct val="15000"/>
            </a:spcAft>
            <a:buChar char="••"/>
          </a:pPr>
          <a:endParaRPr lang="en-US" sz="500" kern="1200" dirty="0"/>
        </a:p>
        <a:p>
          <a:pPr marL="57150" lvl="1" indent="-57150" algn="l" defTabSz="222250">
            <a:lnSpc>
              <a:spcPct val="90000"/>
            </a:lnSpc>
            <a:spcBef>
              <a:spcPct val="0"/>
            </a:spcBef>
            <a:spcAft>
              <a:spcPct val="15000"/>
            </a:spcAft>
            <a:buChar char="••"/>
          </a:pPr>
          <a:endParaRPr lang="en-US" sz="500" kern="1200" dirty="0"/>
        </a:p>
        <a:p>
          <a:pPr marL="57150" lvl="1" indent="-57150" algn="l" defTabSz="222250">
            <a:lnSpc>
              <a:spcPct val="90000"/>
            </a:lnSpc>
            <a:spcBef>
              <a:spcPct val="0"/>
            </a:spcBef>
            <a:spcAft>
              <a:spcPct val="15000"/>
            </a:spcAft>
            <a:buChar char="••"/>
          </a:pPr>
          <a:endParaRPr lang="en-US" sz="500" kern="1200" dirty="0"/>
        </a:p>
        <a:p>
          <a:pPr marL="57150" lvl="1" indent="-57150" algn="l" defTabSz="222250">
            <a:lnSpc>
              <a:spcPct val="90000"/>
            </a:lnSpc>
            <a:spcBef>
              <a:spcPct val="0"/>
            </a:spcBef>
            <a:spcAft>
              <a:spcPct val="15000"/>
            </a:spcAft>
            <a:buChar char="••"/>
          </a:pPr>
          <a:endParaRPr lang="en-US" sz="500" kern="1200" dirty="0"/>
        </a:p>
      </dsp:txBody>
      <dsp:txXfrm>
        <a:off x="-79162" y="-35150"/>
        <a:ext cx="1898483" cy="1230835"/>
      </dsp:txXfrm>
    </dsp:sp>
    <dsp:sp modelId="{D929DA09-2E7F-48AA-9BAE-259F65F6EB26}">
      <dsp:nvSpPr>
        <dsp:cNvPr id="0" name=""/>
        <dsp:cNvSpPr/>
      </dsp:nvSpPr>
      <dsp:spPr>
        <a:xfrm>
          <a:off x="1777578" y="770896"/>
          <a:ext cx="1232877" cy="1257779"/>
        </a:xfrm>
        <a:prstGeom prst="pieWedg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Student</a:t>
          </a:r>
          <a:endParaRPr lang="en-US" sz="1100" kern="1200" dirty="0"/>
        </a:p>
      </dsp:txBody>
      <dsp:txXfrm>
        <a:off x="1777578" y="770896"/>
        <a:ext cx="1232877" cy="1257779"/>
      </dsp:txXfrm>
    </dsp:sp>
    <dsp:sp modelId="{DAC7AC0A-0198-4B61-B257-DCB9307EDD36}">
      <dsp:nvSpPr>
        <dsp:cNvPr id="0" name=""/>
        <dsp:cNvSpPr/>
      </dsp:nvSpPr>
      <dsp:spPr>
        <a:xfrm rot="5400000">
          <a:off x="3023097" y="795798"/>
          <a:ext cx="1283045" cy="1207975"/>
        </a:xfrm>
        <a:prstGeom prst="pieWedg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sz="1100" kern="1200" dirty="0" smtClean="0"/>
            <a:t>Finance</a:t>
          </a:r>
          <a:endParaRPr lang="en-US" sz="1100" kern="1200" dirty="0"/>
        </a:p>
      </dsp:txBody>
      <dsp:txXfrm rot="5400000">
        <a:off x="3023097" y="795798"/>
        <a:ext cx="1283045" cy="1207975"/>
      </dsp:txXfrm>
    </dsp:sp>
    <dsp:sp modelId="{45AF4476-A9FD-47BA-B30C-17E0105A9BFF}">
      <dsp:nvSpPr>
        <dsp:cNvPr id="0" name=""/>
        <dsp:cNvSpPr/>
      </dsp:nvSpPr>
      <dsp:spPr>
        <a:xfrm rot="10800000">
          <a:off x="3073101" y="2103772"/>
          <a:ext cx="1207957" cy="1207957"/>
        </a:xfrm>
        <a:prstGeom prst="pieWedg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endParaRPr lang="en-US" sz="1100" kern="1200" dirty="0" smtClean="0"/>
        </a:p>
        <a:p>
          <a:pPr lvl="0" algn="ctr" defTabSz="488950">
            <a:lnSpc>
              <a:spcPct val="90000"/>
            </a:lnSpc>
            <a:spcBef>
              <a:spcPct val="0"/>
            </a:spcBef>
            <a:spcAft>
              <a:spcPct val="35000"/>
            </a:spcAft>
          </a:pPr>
          <a:endParaRPr lang="en-US" sz="1100" kern="1200" dirty="0" smtClean="0"/>
        </a:p>
        <a:p>
          <a:pPr lvl="0" algn="ctr" defTabSz="488950">
            <a:lnSpc>
              <a:spcPct val="90000"/>
            </a:lnSpc>
            <a:spcBef>
              <a:spcPct val="0"/>
            </a:spcBef>
            <a:spcAft>
              <a:spcPct val="35000"/>
            </a:spcAft>
          </a:pPr>
          <a:r>
            <a:rPr lang="en-US" sz="1100" kern="1200" dirty="0" smtClean="0"/>
            <a:t>Enterprise Mgmt</a:t>
          </a:r>
          <a:endParaRPr lang="en-US" sz="1100" kern="1200" dirty="0"/>
        </a:p>
      </dsp:txBody>
      <dsp:txXfrm rot="10800000">
        <a:off x="3073101" y="2103772"/>
        <a:ext cx="1207957" cy="1207957"/>
      </dsp:txXfrm>
    </dsp:sp>
    <dsp:sp modelId="{D8C5D740-E13F-4C3F-9D4B-0E9722CAF966}">
      <dsp:nvSpPr>
        <dsp:cNvPr id="0" name=""/>
        <dsp:cNvSpPr/>
      </dsp:nvSpPr>
      <dsp:spPr>
        <a:xfrm rot="16200000">
          <a:off x="1777433" y="2078688"/>
          <a:ext cx="1258125" cy="1233205"/>
        </a:xfrm>
        <a:prstGeom prst="pieWedg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endParaRPr lang="en-US" sz="1100" kern="1200" dirty="0" smtClean="0"/>
        </a:p>
        <a:p>
          <a:pPr lvl="0" algn="ctr" defTabSz="488950">
            <a:lnSpc>
              <a:spcPct val="90000"/>
            </a:lnSpc>
            <a:spcBef>
              <a:spcPct val="0"/>
            </a:spcBef>
            <a:spcAft>
              <a:spcPct val="35000"/>
            </a:spcAft>
          </a:pPr>
          <a:r>
            <a:rPr lang="en-US" sz="1100" kern="1200" dirty="0" smtClean="0"/>
            <a:t>HR/Payroll</a:t>
          </a:r>
          <a:endParaRPr lang="en-US" sz="1100" kern="1200" dirty="0"/>
        </a:p>
      </dsp:txBody>
      <dsp:txXfrm rot="16200000">
        <a:off x="1777433" y="2078688"/>
        <a:ext cx="1258125" cy="1233205"/>
      </dsp:txXfrm>
    </dsp:sp>
    <dsp:sp modelId="{153C7629-CD77-46CF-A67F-E573EB5474A0}">
      <dsp:nvSpPr>
        <dsp:cNvPr id="0" name=""/>
        <dsp:cNvSpPr/>
      </dsp:nvSpPr>
      <dsp:spPr>
        <a:xfrm>
          <a:off x="2733522" y="1762318"/>
          <a:ext cx="628954" cy="546917"/>
        </a:xfrm>
        <a:prstGeom prst="circular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1DE6915-A8A4-4B11-9F03-18C339C14748}">
      <dsp:nvSpPr>
        <dsp:cNvPr id="0" name=""/>
        <dsp:cNvSpPr/>
      </dsp:nvSpPr>
      <dsp:spPr>
        <a:xfrm rot="10800000">
          <a:off x="2733522" y="1972670"/>
          <a:ext cx="628954" cy="546917"/>
        </a:xfrm>
        <a:prstGeom prst="circular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1C758B4-CF70-4C40-8A35-46CC8764E368}">
      <dsp:nvSpPr>
        <dsp:cNvPr id="0" name=""/>
        <dsp:cNvSpPr/>
      </dsp:nvSpPr>
      <dsp:spPr>
        <a:xfrm rot="5400000">
          <a:off x="4734548" y="-1777503"/>
          <a:ext cx="1150456" cy="499743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smtClean="0"/>
            <a:t>Different screens</a:t>
          </a:r>
          <a:endParaRPr lang="en-US" sz="1800" kern="1200" dirty="0"/>
        </a:p>
        <a:p>
          <a:pPr marL="171450" lvl="1" indent="-171450" algn="l" defTabSz="800100">
            <a:lnSpc>
              <a:spcPct val="90000"/>
            </a:lnSpc>
            <a:spcBef>
              <a:spcPct val="0"/>
            </a:spcBef>
            <a:spcAft>
              <a:spcPct val="15000"/>
            </a:spcAft>
            <a:buChar char="••"/>
          </a:pPr>
          <a:r>
            <a:rPr lang="en-US" sz="1800" kern="1200" dirty="0" smtClean="0"/>
            <a:t>Different terminology</a:t>
          </a:r>
          <a:endParaRPr lang="en-US" sz="1800" kern="1200" dirty="0"/>
        </a:p>
        <a:p>
          <a:pPr marL="171450" lvl="1" indent="-171450" algn="l" defTabSz="800100">
            <a:lnSpc>
              <a:spcPct val="90000"/>
            </a:lnSpc>
            <a:spcBef>
              <a:spcPct val="0"/>
            </a:spcBef>
            <a:spcAft>
              <a:spcPct val="15000"/>
            </a:spcAft>
            <a:buChar char="••"/>
          </a:pPr>
          <a:r>
            <a:rPr lang="en-US" sz="1800" kern="1200" dirty="0" smtClean="0"/>
            <a:t>Different data to enter</a:t>
          </a:r>
          <a:endParaRPr lang="en-US" sz="1800" kern="1200" dirty="0"/>
        </a:p>
        <a:p>
          <a:pPr marL="171450" lvl="1" indent="-171450" algn="l" defTabSz="800100">
            <a:lnSpc>
              <a:spcPct val="90000"/>
            </a:lnSpc>
            <a:spcBef>
              <a:spcPct val="0"/>
            </a:spcBef>
            <a:spcAft>
              <a:spcPct val="15000"/>
            </a:spcAft>
            <a:buChar char="••"/>
          </a:pPr>
          <a:r>
            <a:rPr lang="en-US" sz="1800" kern="1200" dirty="0" smtClean="0"/>
            <a:t>Different reports</a:t>
          </a:r>
          <a:endParaRPr lang="en-US" sz="1800" kern="1200" dirty="0"/>
        </a:p>
      </dsp:txBody>
      <dsp:txXfrm rot="5400000">
        <a:off x="4734548" y="-1777503"/>
        <a:ext cx="1150456" cy="4997436"/>
      </dsp:txXfrm>
    </dsp:sp>
    <dsp:sp modelId="{D895814F-A666-4905-AC60-F81C2E9CF75B}">
      <dsp:nvSpPr>
        <dsp:cNvPr id="0" name=""/>
        <dsp:cNvSpPr/>
      </dsp:nvSpPr>
      <dsp:spPr>
        <a:xfrm>
          <a:off x="0" y="2178"/>
          <a:ext cx="2811058" cy="143807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t>New Systems</a:t>
          </a:r>
          <a:endParaRPr lang="en-US" sz="1800" b="1" kern="1200" dirty="0"/>
        </a:p>
      </dsp:txBody>
      <dsp:txXfrm>
        <a:off x="0" y="2178"/>
        <a:ext cx="2811058" cy="1438071"/>
      </dsp:txXfrm>
    </dsp:sp>
    <dsp:sp modelId="{F5F73DCA-FC4D-4B55-B3F5-F5CD5A2598C9}">
      <dsp:nvSpPr>
        <dsp:cNvPr id="0" name=""/>
        <dsp:cNvSpPr/>
      </dsp:nvSpPr>
      <dsp:spPr>
        <a:xfrm rot="5400000">
          <a:off x="4734548" y="-267529"/>
          <a:ext cx="1150456" cy="499743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smtClean="0"/>
            <a:t>Different info coming from different places</a:t>
          </a:r>
        </a:p>
        <a:p>
          <a:pPr marL="171450" lvl="1" indent="-171450" algn="l" defTabSz="800100">
            <a:lnSpc>
              <a:spcPct val="90000"/>
            </a:lnSpc>
            <a:spcBef>
              <a:spcPct val="0"/>
            </a:spcBef>
            <a:spcAft>
              <a:spcPct val="15000"/>
            </a:spcAft>
            <a:buChar char="••"/>
          </a:pPr>
          <a:r>
            <a:rPr lang="en-US" sz="1800" kern="1200" dirty="0" smtClean="0"/>
            <a:t>Different approval paths</a:t>
          </a:r>
        </a:p>
        <a:p>
          <a:pPr marL="171450" lvl="1" indent="-171450" algn="l" defTabSz="800100">
            <a:lnSpc>
              <a:spcPct val="90000"/>
            </a:lnSpc>
            <a:spcBef>
              <a:spcPct val="0"/>
            </a:spcBef>
            <a:spcAft>
              <a:spcPct val="15000"/>
            </a:spcAft>
            <a:buChar char="••"/>
          </a:pPr>
          <a:r>
            <a:rPr lang="en-US" sz="1800" kern="1200" dirty="0" smtClean="0"/>
            <a:t>Reduced steps in a process</a:t>
          </a:r>
        </a:p>
      </dsp:txBody>
      <dsp:txXfrm rot="5400000">
        <a:off x="4734548" y="-267529"/>
        <a:ext cx="1150456" cy="4997436"/>
      </dsp:txXfrm>
    </dsp:sp>
    <dsp:sp modelId="{DD1E2E89-DDA8-4BF2-8C54-C1F6DCACE137}">
      <dsp:nvSpPr>
        <dsp:cNvPr id="0" name=""/>
        <dsp:cNvSpPr/>
      </dsp:nvSpPr>
      <dsp:spPr>
        <a:xfrm>
          <a:off x="0" y="1512153"/>
          <a:ext cx="2811058" cy="143807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t>New Processes</a:t>
          </a:r>
          <a:endParaRPr lang="en-US" sz="1800" b="1" kern="1200" dirty="0"/>
        </a:p>
      </dsp:txBody>
      <dsp:txXfrm>
        <a:off x="0" y="1512153"/>
        <a:ext cx="2811058" cy="1438071"/>
      </dsp:txXfrm>
    </dsp:sp>
    <dsp:sp modelId="{5E66B3D7-B726-483B-B9F0-976E9C61BCD0}">
      <dsp:nvSpPr>
        <dsp:cNvPr id="0" name=""/>
        <dsp:cNvSpPr/>
      </dsp:nvSpPr>
      <dsp:spPr>
        <a:xfrm rot="5400000">
          <a:off x="4734548" y="1242445"/>
          <a:ext cx="1150456" cy="499743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smtClean="0"/>
            <a:t>Potential for delegated authorities</a:t>
          </a:r>
        </a:p>
        <a:p>
          <a:pPr marL="171450" lvl="1" indent="-171450" algn="l" defTabSz="800100">
            <a:lnSpc>
              <a:spcPct val="90000"/>
            </a:lnSpc>
            <a:spcBef>
              <a:spcPct val="0"/>
            </a:spcBef>
            <a:spcAft>
              <a:spcPct val="15000"/>
            </a:spcAft>
            <a:buChar char="••"/>
          </a:pPr>
          <a:r>
            <a:rPr lang="en-US" sz="1800" kern="1200" dirty="0" smtClean="0"/>
            <a:t>Automated approvals</a:t>
          </a:r>
        </a:p>
        <a:p>
          <a:pPr marL="171450" lvl="1" indent="-171450" algn="l" defTabSz="800100">
            <a:lnSpc>
              <a:spcPct val="90000"/>
            </a:lnSpc>
            <a:spcBef>
              <a:spcPct val="0"/>
            </a:spcBef>
            <a:spcAft>
              <a:spcPct val="15000"/>
            </a:spcAft>
            <a:buChar char="••"/>
          </a:pPr>
          <a:r>
            <a:rPr lang="en-US" sz="1800" kern="1200" dirty="0" smtClean="0"/>
            <a:t>Different people entering data</a:t>
          </a:r>
        </a:p>
      </dsp:txBody>
      <dsp:txXfrm rot="5400000">
        <a:off x="4734548" y="1242445"/>
        <a:ext cx="1150456" cy="4997436"/>
      </dsp:txXfrm>
    </dsp:sp>
    <dsp:sp modelId="{D2C4F2DD-D9AA-425B-BC67-BA9F8819B788}">
      <dsp:nvSpPr>
        <dsp:cNvPr id="0" name=""/>
        <dsp:cNvSpPr/>
      </dsp:nvSpPr>
      <dsp:spPr>
        <a:xfrm>
          <a:off x="0" y="3022128"/>
          <a:ext cx="2811058" cy="143807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t>New Responsibilities</a:t>
          </a:r>
        </a:p>
      </dsp:txBody>
      <dsp:txXfrm>
        <a:off x="0" y="3022128"/>
        <a:ext cx="2811058" cy="1438071"/>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5.vml.rels><?xml version="1.0" encoding="UTF-8" standalone="yes"?>
<Relationships xmlns="http://schemas.openxmlformats.org/package/2006/relationships"><Relationship Id="rId1" Type="http://schemas.openxmlformats.org/officeDocument/2006/relationships/image" Target="../media/image6.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482" name="Rectangle 2"/>
          <p:cNvSpPr>
            <a:spLocks noGrp="1" noChangeArrowheads="1"/>
          </p:cNvSpPr>
          <p:nvPr>
            <p:ph type="hdr" sz="quarter"/>
          </p:nvPr>
        </p:nvSpPr>
        <p:spPr bwMode="auto">
          <a:xfrm>
            <a:off x="0" y="0"/>
            <a:ext cx="3170238" cy="481013"/>
          </a:xfrm>
          <a:prstGeom prst="rect">
            <a:avLst/>
          </a:prstGeom>
          <a:noFill/>
          <a:ln w="9525">
            <a:noFill/>
            <a:miter lim="800000"/>
            <a:headEnd/>
            <a:tailEnd/>
          </a:ln>
          <a:effectLst/>
        </p:spPr>
        <p:txBody>
          <a:bodyPr vert="horz" wrap="square" lIns="97260" tIns="48630" rIns="97260" bIns="48630" numCol="1" anchor="t" anchorCtr="0" compatLnSpc="1">
            <a:prstTxWarp prst="textNoShape">
              <a:avLst/>
            </a:prstTxWarp>
          </a:bodyPr>
          <a:lstStyle>
            <a:lvl1pPr defTabSz="971550" eaLnBrk="0" hangingPunct="0">
              <a:spcBef>
                <a:spcPct val="0"/>
              </a:spcBef>
              <a:defRPr sz="1200"/>
            </a:lvl1pPr>
          </a:lstStyle>
          <a:p>
            <a:r>
              <a:rPr lang="en-US" dirty="0"/>
              <a:t>Gartner Template</a:t>
            </a:r>
          </a:p>
        </p:txBody>
      </p:sp>
      <p:sp>
        <p:nvSpPr>
          <p:cNvPr id="20484" name="Rectangle 4"/>
          <p:cNvSpPr>
            <a:spLocks noGrp="1" noChangeArrowheads="1"/>
          </p:cNvSpPr>
          <p:nvPr>
            <p:ph type="ftr" sz="quarter" idx="2"/>
          </p:nvPr>
        </p:nvSpPr>
        <p:spPr bwMode="auto">
          <a:xfrm>
            <a:off x="0" y="9120188"/>
            <a:ext cx="3170238" cy="479425"/>
          </a:xfrm>
          <a:prstGeom prst="rect">
            <a:avLst/>
          </a:prstGeom>
          <a:noFill/>
          <a:ln w="9525">
            <a:noFill/>
            <a:miter lim="800000"/>
            <a:headEnd/>
            <a:tailEnd/>
          </a:ln>
          <a:effectLst/>
        </p:spPr>
        <p:txBody>
          <a:bodyPr vert="horz" wrap="square" lIns="97260" tIns="48630" rIns="97260" bIns="48630" numCol="1" anchor="b" anchorCtr="0" compatLnSpc="1">
            <a:prstTxWarp prst="textNoShape">
              <a:avLst/>
            </a:prstTxWarp>
          </a:bodyPr>
          <a:lstStyle>
            <a:lvl1pPr defTabSz="971550" eaLnBrk="0" hangingPunct="0">
              <a:spcBef>
                <a:spcPct val="0"/>
              </a:spcBef>
              <a:defRPr sz="1200"/>
            </a:lvl1pPr>
          </a:lstStyle>
          <a:p>
            <a:r>
              <a:rPr lang="en-US" dirty="0"/>
              <a:t>Projection</a:t>
            </a:r>
          </a:p>
        </p:txBody>
      </p:sp>
      <p:sp>
        <p:nvSpPr>
          <p:cNvPr id="20485" name="Rectangle 5"/>
          <p:cNvSpPr>
            <a:spLocks noGrp="1" noChangeArrowheads="1"/>
          </p:cNvSpPr>
          <p:nvPr>
            <p:ph type="sldNum" sz="quarter" idx="3"/>
          </p:nvPr>
        </p:nvSpPr>
        <p:spPr bwMode="auto">
          <a:xfrm>
            <a:off x="4143375" y="9120188"/>
            <a:ext cx="3170238" cy="479425"/>
          </a:xfrm>
          <a:prstGeom prst="rect">
            <a:avLst/>
          </a:prstGeom>
          <a:noFill/>
          <a:ln w="9525">
            <a:noFill/>
            <a:miter lim="800000"/>
            <a:headEnd/>
            <a:tailEnd/>
          </a:ln>
          <a:effectLst/>
        </p:spPr>
        <p:txBody>
          <a:bodyPr vert="horz" wrap="square" lIns="97260" tIns="48630" rIns="97260" bIns="48630" numCol="1" anchor="b" anchorCtr="0" compatLnSpc="1">
            <a:prstTxWarp prst="textNoShape">
              <a:avLst/>
            </a:prstTxWarp>
          </a:bodyPr>
          <a:lstStyle>
            <a:lvl1pPr algn="r" defTabSz="971550" eaLnBrk="0" hangingPunct="0">
              <a:spcBef>
                <a:spcPct val="0"/>
              </a:spcBef>
              <a:defRPr sz="1200"/>
            </a:lvl1pPr>
          </a:lstStyle>
          <a:p>
            <a:fld id="{74FA86A9-990F-4324-8925-9C3188A3B7DB}" type="slidenum">
              <a:rPr lang="en-US"/>
              <a:pPr/>
              <a:t>‹#›</a:t>
            </a:fld>
            <a:endParaRPr lang="en-US"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63" name="Rectangle 19"/>
          <p:cNvSpPr>
            <a:spLocks noGrp="1" noRot="1" noChangeAspect="1" noChangeArrowheads="1" noTextEdit="1"/>
          </p:cNvSpPr>
          <p:nvPr>
            <p:ph type="sldImg" idx="2"/>
          </p:nvPr>
        </p:nvSpPr>
        <p:spPr bwMode="gray">
          <a:xfrm>
            <a:off x="837946" y="242596"/>
            <a:ext cx="5639308" cy="4229481"/>
          </a:xfrm>
          <a:prstGeom prst="rect">
            <a:avLst/>
          </a:prstGeom>
          <a:noFill/>
          <a:ln w="9525">
            <a:noFill/>
            <a:miter lim="800000"/>
            <a:headEnd/>
            <a:tailEnd/>
          </a:ln>
          <a:effectLst/>
        </p:spPr>
      </p:sp>
      <p:sp>
        <p:nvSpPr>
          <p:cNvPr id="6170" name="Line 26"/>
          <p:cNvSpPr>
            <a:spLocks noChangeShapeType="1"/>
          </p:cNvSpPr>
          <p:nvPr/>
        </p:nvSpPr>
        <p:spPr bwMode="gray">
          <a:xfrm>
            <a:off x="169863" y="8902700"/>
            <a:ext cx="7021512" cy="0"/>
          </a:xfrm>
          <a:prstGeom prst="line">
            <a:avLst/>
          </a:prstGeom>
          <a:noFill/>
          <a:ln w="12700">
            <a:solidFill>
              <a:schemeClr val="tx2"/>
            </a:solidFill>
            <a:round/>
            <a:headEnd type="none" w="sm" len="sm"/>
            <a:tailEnd type="none" w="sm" len="sm"/>
          </a:ln>
          <a:effectLst/>
        </p:spPr>
        <p:txBody>
          <a:bodyPr wrap="none" anchor="ctr"/>
          <a:lstStyle/>
          <a:p>
            <a:endParaRPr lang="en-US" dirty="0"/>
          </a:p>
        </p:txBody>
      </p:sp>
      <p:sp>
        <p:nvSpPr>
          <p:cNvPr id="6153" name="Rectangle 9"/>
          <p:cNvSpPr>
            <a:spLocks noGrp="1" noChangeArrowheads="1"/>
          </p:cNvSpPr>
          <p:nvPr>
            <p:ph type="body" sz="quarter" idx="3"/>
          </p:nvPr>
        </p:nvSpPr>
        <p:spPr bwMode="gray">
          <a:xfrm>
            <a:off x="219075" y="4800599"/>
            <a:ext cx="6915150" cy="4067175"/>
          </a:xfrm>
          <a:prstGeom prst="rect">
            <a:avLst/>
          </a:prstGeom>
          <a:noFill/>
          <a:ln w="9525">
            <a:noFill/>
            <a:miter lim="800000"/>
            <a:headEnd/>
            <a:tailEnd/>
          </a:ln>
          <a:effectLst/>
        </p:spPr>
        <p:txBody>
          <a:bodyPr vert="horz" wrap="square" lIns="99544" tIns="50614" rIns="99544" bIns="50614" numCol="1" anchor="t" anchorCtr="0" compatLnSpc="1">
            <a:prstTxWarp prst="textNoShape">
              <a:avLst/>
            </a:prstTxWarp>
          </a:bodyPr>
          <a:lstStyle/>
          <a:p>
            <a:pPr lvl="0"/>
            <a:r>
              <a:rPr lang="en-US" smtClean="0"/>
              <a:t>Click to edit Master text styles</a:t>
            </a:r>
          </a:p>
        </p:txBody>
      </p:sp>
      <p:sp>
        <p:nvSpPr>
          <p:cNvPr id="13" name="Slide Number Placeholder 12"/>
          <p:cNvSpPr>
            <a:spLocks noGrp="1"/>
          </p:cNvSpPr>
          <p:nvPr>
            <p:ph type="sldNum" sz="quarter" idx="5"/>
          </p:nvPr>
        </p:nvSpPr>
        <p:spPr>
          <a:xfrm>
            <a:off x="3229768" y="9105900"/>
            <a:ext cx="855663" cy="274638"/>
          </a:xfrm>
          <a:prstGeom prst="rect">
            <a:avLst/>
          </a:prstGeom>
        </p:spPr>
        <p:txBody>
          <a:bodyPr vert="horz" lIns="91440" tIns="45720" rIns="91440" bIns="45720" rtlCol="0" anchor="b"/>
          <a:lstStyle>
            <a:lvl1pPr algn="ctr">
              <a:defRPr sz="900"/>
            </a:lvl1pPr>
          </a:lstStyle>
          <a:p>
            <a:fld id="{DEF9DBD6-5DBD-4495-80E0-442C6EA24CB0}" type="slidenum">
              <a:rPr lang="en-US" smtClean="0"/>
              <a:pPr/>
              <a:t>‹#›</a:t>
            </a:fld>
            <a:endParaRPr lang="en-US" dirty="0"/>
          </a:p>
        </p:txBody>
      </p:sp>
    </p:spTree>
  </p:cSld>
  <p:clrMap bg1="lt1" tx1="dk1" bg2="lt2" tx2="dk2" accent1="accent1" accent2="accent2" accent3="accent3" accent4="accent4" accent5="accent5" accent6="accent6" hlink="hlink" folHlink="folHlink"/>
  <p:notesStyle>
    <a:lvl1pPr algn="l" rtl="0" fontAlgn="base">
      <a:lnSpc>
        <a:spcPct val="85000"/>
      </a:lnSpc>
      <a:spcBef>
        <a:spcPct val="30000"/>
      </a:spcBef>
      <a:spcAft>
        <a:spcPct val="10000"/>
      </a:spcAft>
      <a:defRPr sz="1200" kern="1200">
        <a:solidFill>
          <a:schemeClr val="tx1"/>
        </a:solidFill>
        <a:latin typeface="Arial" charset="0"/>
        <a:ea typeface="Arial Unicode MS" pitchFamily="34" charset="-128"/>
        <a:cs typeface="Arial Unicode MS" pitchFamily="34" charset="-128"/>
      </a:defRPr>
    </a:lvl1pPr>
    <a:lvl2pPr marL="457200" algn="l" rtl="0" fontAlgn="base">
      <a:lnSpc>
        <a:spcPct val="90000"/>
      </a:lnSpc>
      <a:spcBef>
        <a:spcPct val="30000"/>
      </a:spcBef>
      <a:spcAft>
        <a:spcPct val="10000"/>
      </a:spcAft>
      <a:defRPr sz="1200" kern="1200">
        <a:solidFill>
          <a:schemeClr val="tx1"/>
        </a:solidFill>
        <a:latin typeface="Arial" charset="0"/>
        <a:ea typeface="Arial Unicode MS" pitchFamily="34" charset="-128"/>
        <a:cs typeface="Arial Unicode MS" pitchFamily="34" charset="-128"/>
      </a:defRPr>
    </a:lvl2pPr>
    <a:lvl3pPr marL="914400" algn="l" rtl="0" fontAlgn="base">
      <a:lnSpc>
        <a:spcPct val="90000"/>
      </a:lnSpc>
      <a:spcBef>
        <a:spcPct val="30000"/>
      </a:spcBef>
      <a:spcAft>
        <a:spcPct val="10000"/>
      </a:spcAft>
      <a:defRPr sz="1200" kern="1200">
        <a:solidFill>
          <a:schemeClr val="tx1"/>
        </a:solidFill>
        <a:latin typeface="Arial" charset="0"/>
        <a:ea typeface="Arial Unicode MS" pitchFamily="34" charset="-128"/>
        <a:cs typeface="Arial Unicode MS" pitchFamily="34" charset="-128"/>
      </a:defRPr>
    </a:lvl3pPr>
    <a:lvl4pPr marL="1371600" algn="l" rtl="0" fontAlgn="base">
      <a:lnSpc>
        <a:spcPct val="90000"/>
      </a:lnSpc>
      <a:spcBef>
        <a:spcPct val="30000"/>
      </a:spcBef>
      <a:spcAft>
        <a:spcPct val="10000"/>
      </a:spcAft>
      <a:defRPr sz="1200" kern="1200">
        <a:solidFill>
          <a:schemeClr val="tx1"/>
        </a:solidFill>
        <a:latin typeface="Arial" charset="0"/>
        <a:ea typeface="Arial Unicode MS" pitchFamily="34" charset="-128"/>
        <a:cs typeface="Arial Unicode MS" pitchFamily="34" charset="-128"/>
      </a:defRPr>
    </a:lvl4pPr>
    <a:lvl5pPr marL="1828800" algn="l" rtl="0" fontAlgn="base">
      <a:lnSpc>
        <a:spcPct val="90000"/>
      </a:lnSpc>
      <a:spcBef>
        <a:spcPct val="30000"/>
      </a:spcBef>
      <a:spcAft>
        <a:spcPct val="10000"/>
      </a:spcAft>
      <a:defRPr sz="12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6" name="AutoShape 2"/>
          <p:cNvSpPr>
            <a:spLocks noGrp="1" noRot="1" noChangeAspect="1" noChangeArrowheads="1" noTextEdit="1"/>
          </p:cNvSpPr>
          <p:nvPr>
            <p:ph type="sldImg"/>
          </p:nvPr>
        </p:nvSpPr>
        <p:spPr bwMode="auto">
          <a:xfrm>
            <a:off x="838200" y="242888"/>
            <a:ext cx="5638800" cy="4229100"/>
          </a:xfrm>
          <a:ln/>
        </p:spPr>
      </p:sp>
      <p:sp>
        <p:nvSpPr>
          <p:cNvPr id="241667" name="Rectangle 3"/>
          <p:cNvSpPr>
            <a:spLocks noGrp="1" noChangeArrowheads="1"/>
          </p:cNvSpPr>
          <p:nvPr>
            <p:ph type="body" idx="1"/>
          </p:nvPr>
        </p:nvSpPr>
        <p:spPr bwMode="auto">
          <a:solidFill>
            <a:srgbClr val="FFFFFF"/>
          </a:solidFill>
        </p:spPr>
        <p:txBody>
          <a:bodyPr lIns="94400" tIns="47200" rIns="94400" bIns="47200"/>
          <a:lstStyle/>
          <a:p>
            <a:endParaRPr lang="en-US" dirty="0"/>
          </a:p>
        </p:txBody>
      </p:sp>
      <p:sp>
        <p:nvSpPr>
          <p:cNvPr id="241668" name="Rectangle 4"/>
          <p:cNvSpPr>
            <a:spLocks noChangeArrowheads="1"/>
          </p:cNvSpPr>
          <p:nvPr/>
        </p:nvSpPr>
        <p:spPr bwMode="auto">
          <a:xfrm>
            <a:off x="169863" y="428625"/>
            <a:ext cx="7016750" cy="855663"/>
          </a:xfrm>
          <a:prstGeom prst="rect">
            <a:avLst/>
          </a:prstGeom>
          <a:noFill/>
          <a:ln w="12700">
            <a:noFill/>
            <a:miter lim="800000"/>
            <a:headEnd/>
            <a:tailEnd/>
          </a:ln>
        </p:spPr>
        <p:txBody>
          <a:bodyPr lIns="97181" tIns="48590" rIns="97181" bIns="48590"/>
          <a:lstStyle/>
          <a:p>
            <a:pPr defTabSz="969963" eaLnBrk="0" hangingPunct="0">
              <a:spcBef>
                <a:spcPct val="0"/>
              </a:spcBef>
            </a:pPr>
            <a:r>
              <a:rPr lang="en-US" sz="1200" b="1" dirty="0"/>
              <a:t>Placeholder for text of Conclusions, SPAs and others (substitute your own text)</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02" name="Rectangle 2"/>
          <p:cNvSpPr>
            <a:spLocks noGrp="1" noRot="1" noChangeAspect="1" noChangeArrowheads="1" noTextEdit="1"/>
          </p:cNvSpPr>
          <p:nvPr>
            <p:ph type="sldImg"/>
          </p:nvPr>
        </p:nvSpPr>
        <p:spPr>
          <a:xfrm>
            <a:off x="838200" y="242888"/>
            <a:ext cx="5638800" cy="4229100"/>
          </a:xfrm>
          <a:ln/>
        </p:spPr>
      </p:sp>
      <p:sp>
        <p:nvSpPr>
          <p:cNvPr id="409603" name="Rectangle 3"/>
          <p:cNvSpPr>
            <a:spLocks noGrp="1" noChangeArrowheads="1"/>
          </p:cNvSpPr>
          <p:nvPr>
            <p:ph type="body" idx="1"/>
          </p:nvPr>
        </p:nvSpPr>
        <p:spPr>
          <a:noFill/>
          <a:ln/>
        </p:spPr>
        <p:txBody>
          <a:bodyPr/>
          <a:lstStyle/>
          <a:p>
            <a:r>
              <a:rPr lang="en-US" b="0" smtClean="0"/>
              <a:t>Key Issue: What are the drivers and inhibitors of an ERP II strategy?</a:t>
            </a:r>
            <a:endParaRPr lang="en-US" smtClean="0"/>
          </a:p>
          <a:p>
            <a:r>
              <a:rPr lang="en-US" smtClean="0"/>
              <a:t>Even as enterprises begin to shift their thinking to competing as part of a community of partners, the need to improve internal operations has never been higher. New rules of compliance (for example, Sarbanes-Oxley and CFR Part 11) have emerged to drive enterprises toward transparency. To fulfill compliance and the expectations of customer and suppliers in “Internet time,” access to enterprise data and processes must change dramatically. Exposing the right enterprise data and information previously has been poorly understood because of highly proprietary systems that were not easily integrated with enterprise applications. The transparency imperative will dictate greater visibility into enterprises and, ultimately, interaction with business constituents. Although ERP II assists with enterprise processes integration and exposure of the single data model, other issues emerge as enterprises find that ERP II vendors have not evolved to expose enterprise data and processes from applications from other vendors. Also at issue is the lack of enterprise execution of processes, because an ERP II strategy can enable enterprise processes, but enterprises must choose to re-engineer “siloed” processes. </a:t>
            </a:r>
          </a:p>
          <a:p>
            <a:r>
              <a:rPr lang="en-US" i="1" smtClean="0"/>
              <a:t>Action Item: You can choose to begin to meet the transparency imperative with an ERP II strategy, but investments will be required to augment ERP II vendor technologies to achieve transparency.</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Grp="1" noChangeArrowheads="1"/>
          </p:cNvSpPr>
          <p:nvPr>
            <p:ph type="ftr" sz="quarter" idx="4"/>
          </p:nvPr>
        </p:nvSpPr>
        <p:spPr>
          <a:xfrm>
            <a:off x="0" y="9119173"/>
            <a:ext cx="3170583" cy="480388"/>
          </a:xfrm>
          <a:prstGeom prst="rect">
            <a:avLst/>
          </a:prstGeom>
          <a:ln/>
        </p:spPr>
        <p:txBody>
          <a:bodyPr lIns="94851" tIns="47425" rIns="94851" bIns="47425"/>
          <a:lstStyle/>
          <a:p>
            <a:r>
              <a:rPr lang="en-GB" altLang="en-US"/>
              <a:t>University of Ottawa</a:t>
            </a:r>
          </a:p>
          <a:p>
            <a:r>
              <a:rPr lang="en-GB" altLang="en-US"/>
              <a:t>SIS Needs</a:t>
            </a:r>
            <a:r>
              <a:rPr lang="en-US" altLang="en-US"/>
              <a:t> Investigation</a:t>
            </a:r>
            <a:r>
              <a:rPr lang="en-GB" altLang="en-US"/>
              <a:t> </a:t>
            </a:r>
          </a:p>
          <a:p>
            <a:r>
              <a:rPr lang="en-GB" altLang="en-US"/>
              <a:t>Engagement: </a:t>
            </a:r>
            <a:r>
              <a:rPr lang="en-US" altLang="en-US">
                <a:cs typeface="Times New Roman" pitchFamily="18" charset="0"/>
              </a:rPr>
              <a:t>220465630</a:t>
            </a:r>
            <a:r>
              <a:rPr lang="en-CA" altLang="en-US"/>
              <a:t> </a:t>
            </a:r>
            <a:r>
              <a:rPr lang="en-GB" altLang="en-US"/>
              <a:t>— </a:t>
            </a:r>
            <a:r>
              <a:rPr lang="en-US" altLang="en-US"/>
              <a:t>May</a:t>
            </a:r>
            <a:r>
              <a:rPr lang="en-GB" altLang="en-US"/>
              <a:t> 200</a:t>
            </a:r>
            <a:r>
              <a:rPr lang="en-US" altLang="en-US"/>
              <a:t>4</a:t>
            </a:r>
          </a:p>
        </p:txBody>
      </p:sp>
      <p:sp>
        <p:nvSpPr>
          <p:cNvPr id="5" name="Rectangle 7"/>
          <p:cNvSpPr>
            <a:spLocks noGrp="1" noChangeArrowheads="1"/>
          </p:cNvSpPr>
          <p:nvPr>
            <p:ph type="sldNum" sz="quarter" idx="5"/>
          </p:nvPr>
        </p:nvSpPr>
        <p:spPr>
          <a:ln/>
        </p:spPr>
        <p:txBody>
          <a:bodyPr/>
          <a:lstStyle/>
          <a:p>
            <a:r>
              <a:rPr lang="en-GB" altLang="en-US"/>
              <a:t>For internal use of University o</a:t>
            </a:r>
            <a:r>
              <a:rPr lang="en-US" altLang="en-US"/>
              <a:t>f Ottawa</a:t>
            </a:r>
            <a:r>
              <a:rPr lang="en-GB" altLang="en-US"/>
              <a:t> only. </a:t>
            </a:r>
            <a:br>
              <a:rPr lang="en-GB" altLang="en-US"/>
            </a:br>
            <a:r>
              <a:rPr lang="en-GB" altLang="en-US"/>
              <a:t>© 200</a:t>
            </a:r>
            <a:r>
              <a:rPr lang="en-US" altLang="en-US"/>
              <a:t>4</a:t>
            </a:r>
            <a:r>
              <a:rPr lang="en-GB" altLang="en-US"/>
              <a:t> Gartner, Inc. and/or Gartner Holdings Ireland. </a:t>
            </a:r>
            <a:br>
              <a:rPr lang="en-GB" altLang="en-US"/>
            </a:br>
            <a:r>
              <a:rPr lang="en-GB" altLang="en-US"/>
              <a:t>All Rights Reserved.</a:t>
            </a:r>
          </a:p>
          <a:p>
            <a:r>
              <a:rPr lang="en-US" altLang="en-US"/>
              <a:t>Page </a:t>
            </a:r>
            <a:fld id="{1B46BF5C-C24C-471B-8559-843DFA0E19BA}" type="slidenum">
              <a:rPr lang="en-US" altLang="en-US"/>
              <a:pPr/>
              <a:t>5</a:t>
            </a:fld>
            <a:endParaRPr lang="en-US" altLang="en-US"/>
          </a:p>
        </p:txBody>
      </p:sp>
      <p:sp>
        <p:nvSpPr>
          <p:cNvPr id="545794" name="Rectangle 2"/>
          <p:cNvSpPr>
            <a:spLocks noGrp="1" noRot="1" noChangeAspect="1" noChangeArrowheads="1" noTextEdit="1"/>
          </p:cNvSpPr>
          <p:nvPr>
            <p:ph type="sldImg"/>
          </p:nvPr>
        </p:nvSpPr>
        <p:spPr>
          <a:xfrm>
            <a:off x="1117600" y="398463"/>
            <a:ext cx="5086350" cy="3814762"/>
          </a:xfrm>
          <a:ln/>
        </p:spPr>
      </p:sp>
      <p:sp>
        <p:nvSpPr>
          <p:cNvPr id="545795" name="Rectangle 3"/>
          <p:cNvSpPr>
            <a:spLocks noGrp="1" noChangeArrowheads="1"/>
          </p:cNvSpPr>
          <p:nvPr>
            <p:ph type="body" idx="1"/>
          </p:nvPr>
        </p:nvSpPr>
        <p:spPr/>
        <p:txBody>
          <a:bodyPr lIns="93949" tIns="46974" rIns="93949" bIns="46974"/>
          <a:lstStyle/>
          <a:p>
            <a:endParaRPr lang="en-CA"/>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Grp="1" noChangeArrowheads="1"/>
          </p:cNvSpPr>
          <p:nvPr>
            <p:ph type="ftr" sz="quarter" idx="4"/>
          </p:nvPr>
        </p:nvSpPr>
        <p:spPr>
          <a:xfrm>
            <a:off x="0" y="9119173"/>
            <a:ext cx="3170583" cy="480388"/>
          </a:xfrm>
          <a:prstGeom prst="rect">
            <a:avLst/>
          </a:prstGeom>
          <a:ln/>
        </p:spPr>
        <p:txBody>
          <a:bodyPr lIns="94851" tIns="47425" rIns="94851" bIns="47425"/>
          <a:lstStyle/>
          <a:p>
            <a:r>
              <a:rPr lang="en-GB" altLang="en-US"/>
              <a:t>University of Ottawa</a:t>
            </a:r>
          </a:p>
          <a:p>
            <a:r>
              <a:rPr lang="en-GB" altLang="en-US"/>
              <a:t>SIS Needs</a:t>
            </a:r>
            <a:r>
              <a:rPr lang="en-US" altLang="en-US"/>
              <a:t> Investigation</a:t>
            </a:r>
            <a:r>
              <a:rPr lang="en-GB" altLang="en-US"/>
              <a:t> </a:t>
            </a:r>
          </a:p>
          <a:p>
            <a:r>
              <a:rPr lang="en-GB" altLang="en-US"/>
              <a:t>Engagement: </a:t>
            </a:r>
            <a:r>
              <a:rPr lang="en-US" altLang="en-US">
                <a:cs typeface="Times New Roman" pitchFamily="18" charset="0"/>
              </a:rPr>
              <a:t>220465630</a:t>
            </a:r>
            <a:r>
              <a:rPr lang="en-CA" altLang="en-US"/>
              <a:t> </a:t>
            </a:r>
            <a:r>
              <a:rPr lang="en-GB" altLang="en-US"/>
              <a:t>— </a:t>
            </a:r>
            <a:r>
              <a:rPr lang="en-US" altLang="en-US"/>
              <a:t>May</a:t>
            </a:r>
            <a:r>
              <a:rPr lang="en-GB" altLang="en-US"/>
              <a:t> 200</a:t>
            </a:r>
            <a:r>
              <a:rPr lang="en-US" altLang="en-US"/>
              <a:t>4</a:t>
            </a:r>
          </a:p>
        </p:txBody>
      </p:sp>
      <p:sp>
        <p:nvSpPr>
          <p:cNvPr id="5" name="Rectangle 7"/>
          <p:cNvSpPr>
            <a:spLocks noGrp="1" noChangeArrowheads="1"/>
          </p:cNvSpPr>
          <p:nvPr>
            <p:ph type="sldNum" sz="quarter" idx="5"/>
          </p:nvPr>
        </p:nvSpPr>
        <p:spPr>
          <a:ln/>
        </p:spPr>
        <p:txBody>
          <a:bodyPr/>
          <a:lstStyle/>
          <a:p>
            <a:r>
              <a:rPr lang="en-GB" altLang="en-US"/>
              <a:t>For internal use of University o</a:t>
            </a:r>
            <a:r>
              <a:rPr lang="en-US" altLang="en-US"/>
              <a:t>f Ottawa</a:t>
            </a:r>
            <a:r>
              <a:rPr lang="en-GB" altLang="en-US"/>
              <a:t> only. </a:t>
            </a:r>
            <a:br>
              <a:rPr lang="en-GB" altLang="en-US"/>
            </a:br>
            <a:r>
              <a:rPr lang="en-GB" altLang="en-US"/>
              <a:t>© 200</a:t>
            </a:r>
            <a:r>
              <a:rPr lang="en-US" altLang="en-US"/>
              <a:t>4</a:t>
            </a:r>
            <a:r>
              <a:rPr lang="en-GB" altLang="en-US"/>
              <a:t> Gartner, Inc. and/or Gartner Holdings Ireland. </a:t>
            </a:r>
            <a:br>
              <a:rPr lang="en-GB" altLang="en-US"/>
            </a:br>
            <a:r>
              <a:rPr lang="en-GB" altLang="en-US"/>
              <a:t>All Rights Reserved.</a:t>
            </a:r>
          </a:p>
          <a:p>
            <a:r>
              <a:rPr lang="en-US" altLang="en-US"/>
              <a:t>Page </a:t>
            </a:r>
            <a:fld id="{1B46BF5C-C24C-471B-8559-843DFA0E19BA}" type="slidenum">
              <a:rPr lang="en-US" altLang="en-US"/>
              <a:pPr/>
              <a:t>6</a:t>
            </a:fld>
            <a:endParaRPr lang="en-US" altLang="en-US"/>
          </a:p>
        </p:txBody>
      </p:sp>
      <p:sp>
        <p:nvSpPr>
          <p:cNvPr id="545794" name="Rectangle 2"/>
          <p:cNvSpPr>
            <a:spLocks noGrp="1" noRot="1" noChangeAspect="1" noChangeArrowheads="1" noTextEdit="1"/>
          </p:cNvSpPr>
          <p:nvPr>
            <p:ph type="sldImg"/>
          </p:nvPr>
        </p:nvSpPr>
        <p:spPr>
          <a:xfrm>
            <a:off x="1117600" y="398463"/>
            <a:ext cx="5086350" cy="3814762"/>
          </a:xfrm>
          <a:ln/>
        </p:spPr>
      </p:sp>
      <p:sp>
        <p:nvSpPr>
          <p:cNvPr id="545795" name="Rectangle 3"/>
          <p:cNvSpPr>
            <a:spLocks noGrp="1" noChangeArrowheads="1"/>
          </p:cNvSpPr>
          <p:nvPr>
            <p:ph type="body" idx="1"/>
          </p:nvPr>
        </p:nvSpPr>
        <p:spPr/>
        <p:txBody>
          <a:bodyPr lIns="93949" tIns="46974" rIns="93949" bIns="46974"/>
          <a:lstStyle/>
          <a:p>
            <a:endParaRPr lang="en-CA"/>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02" name="Rectangle 2"/>
          <p:cNvSpPr>
            <a:spLocks noGrp="1" noRot="1" noChangeAspect="1" noChangeArrowheads="1" noTextEdit="1"/>
          </p:cNvSpPr>
          <p:nvPr>
            <p:ph type="sldImg"/>
          </p:nvPr>
        </p:nvSpPr>
        <p:spPr>
          <a:xfrm>
            <a:off x="838200" y="242888"/>
            <a:ext cx="5638800" cy="4229100"/>
          </a:xfrm>
          <a:ln/>
        </p:spPr>
      </p:sp>
      <p:sp>
        <p:nvSpPr>
          <p:cNvPr id="409603" name="Rectangle 3"/>
          <p:cNvSpPr>
            <a:spLocks noGrp="1" noChangeArrowheads="1"/>
          </p:cNvSpPr>
          <p:nvPr>
            <p:ph type="body" idx="1"/>
          </p:nvPr>
        </p:nvSpPr>
        <p:spPr>
          <a:noFill/>
          <a:ln/>
        </p:spPr>
        <p:txBody>
          <a:bodyPr/>
          <a:lstStyle/>
          <a:p>
            <a:r>
              <a:rPr lang="en-US" b="0" smtClean="0"/>
              <a:t>Key Issue: What are the drivers and inhibitors of an ERP II strategy?</a:t>
            </a:r>
            <a:endParaRPr lang="en-US" smtClean="0"/>
          </a:p>
          <a:p>
            <a:r>
              <a:rPr lang="en-US" smtClean="0"/>
              <a:t>Even as enterprises begin to shift their thinking to competing as part of a community of partners, the need to improve internal operations has never been higher. New rules of compliance (for example, Sarbanes-Oxley and CFR Part 11) have emerged to drive enterprises toward transparency. To fulfill compliance and the expectations of customer and suppliers in “Internet time,” access to enterprise data and processes must change dramatically. Exposing the right enterprise data and information previously has been poorly understood because of highly proprietary systems that were not easily integrated with enterprise applications. The transparency imperative will dictate greater visibility into enterprises and, ultimately, interaction with business constituents. Although ERP II assists with enterprise processes integration and exposure of the single data model, other issues emerge as enterprises find that ERP II vendors have not evolved to expose enterprise data and processes from applications from other vendors. Also at issue is the lack of enterprise execution of processes, because an ERP II strategy can enable enterprise processes, but enterprises must choose to re-engineer “siloed” processes. </a:t>
            </a:r>
          </a:p>
          <a:p>
            <a:r>
              <a:rPr lang="en-US" i="1" smtClean="0"/>
              <a:t>Action Item: You can choose to begin to meet the transparency imperative with an ERP II strategy, but investments will be required to augment ERP II vendor technologies to achieve transparency.</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Rot="1" noChangeAspect="1" noChangeArrowheads="1" noTextEdit="1"/>
          </p:cNvSpPr>
          <p:nvPr>
            <p:ph type="sldImg"/>
          </p:nvPr>
        </p:nvSpPr>
        <p:spPr>
          <a:xfrm>
            <a:off x="1382713" y="836613"/>
            <a:ext cx="4557712" cy="3417887"/>
          </a:xfrm>
          <a:ln/>
        </p:spPr>
      </p:sp>
      <p:sp>
        <p:nvSpPr>
          <p:cNvPr id="28675" name="Rectangle 3"/>
          <p:cNvSpPr>
            <a:spLocks noGrp="1" noChangeArrowheads="1"/>
          </p:cNvSpPr>
          <p:nvPr>
            <p:ph type="body" idx="1"/>
          </p:nvPr>
        </p:nvSpPr>
        <p:spPr>
          <a:xfrm>
            <a:off x="314325" y="5921375"/>
            <a:ext cx="6686550" cy="2989263"/>
          </a:xfrm>
        </p:spPr>
        <p:txBody>
          <a:bodyPr/>
          <a:lstStyle/>
          <a:p>
            <a:endParaRPr 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5746" name="Rectangle 2"/>
          <p:cNvSpPr>
            <a:spLocks noGrp="1" noRot="1" noChangeAspect="1" noChangeArrowheads="1" noTextEdit="1"/>
          </p:cNvSpPr>
          <p:nvPr>
            <p:ph type="sldImg"/>
          </p:nvPr>
        </p:nvSpPr>
        <p:spPr>
          <a:xfrm>
            <a:off x="838200" y="242888"/>
            <a:ext cx="5638800" cy="4229100"/>
          </a:xfrm>
          <a:ln/>
        </p:spPr>
      </p:sp>
      <p:pic>
        <p:nvPicPr>
          <p:cNvPr id="415747" name="Picture 3"/>
          <p:cNvPicPr>
            <a:picLocks noGrp="1" noChangeAspect="1" noChangeArrowheads="1"/>
          </p:cNvPicPr>
          <p:nvPr>
            <p:ph type="body" idx="1"/>
          </p:nvPr>
        </p:nvPicPr>
        <p:blipFill>
          <a:blip r:embed="rId3"/>
          <a:srcRect/>
          <a:stretch>
            <a:fillRect/>
          </a:stretch>
        </p:blipFill>
        <p:spPr bwMode="auto">
          <a:xfrm>
            <a:off x="314960" y="5408271"/>
            <a:ext cx="6685280" cy="2893189"/>
          </a:xfrm>
          <a:noFill/>
          <a:ln/>
        </p:spPr>
      </p:pic>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Rectangle 2"/>
          <p:cNvSpPr>
            <a:spLocks noGrp="1" noRot="1" noChangeAspect="1" noChangeArrowheads="1" noTextEdit="1"/>
          </p:cNvSpPr>
          <p:nvPr>
            <p:ph type="sldImg"/>
          </p:nvPr>
        </p:nvSpPr>
        <p:spPr>
          <a:xfrm>
            <a:off x="838200" y="242888"/>
            <a:ext cx="5638800" cy="4229100"/>
          </a:xfrm>
          <a:ln/>
        </p:spPr>
      </p:sp>
      <p:sp>
        <p:nvSpPr>
          <p:cNvPr id="58370" name="Rectangle 3"/>
          <p:cNvSpPr>
            <a:spLocks noGrp="1" noChangeArrowheads="1"/>
          </p:cNvSpPr>
          <p:nvPr>
            <p:ph type="body" idx="1"/>
          </p:nvPr>
        </p:nvSpPr>
        <p:spPr>
          <a:xfrm>
            <a:off x="211668" y="4798913"/>
            <a:ext cx="6885093" cy="4015691"/>
          </a:xfrm>
          <a:noFill/>
          <a:ln/>
        </p:spPr>
        <p:txBody>
          <a:bodyPr/>
          <a:lstStyle/>
          <a:p>
            <a:pPr eaLnBrk="1" hangingPunct="1"/>
            <a:endParaRPr lang="en-GB" dirty="0" smtClean="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6.xml"/><Relationship Id="rId7"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ags" Target="../tags/tag7.xml"/><Relationship Id="rId9"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png"/><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nvGraphicFramePr>
        <p:xfrm>
          <a:off x="0" y="0"/>
          <a:ext cx="158750" cy="158750"/>
        </p:xfrm>
        <a:graphic>
          <a:graphicData uri="http://schemas.openxmlformats.org/presentationml/2006/ole">
            <p:oleObj spid="_x0000_s5245" name="think-cell Slide" r:id="rId8" imgW="0" imgH="0" progId="">
              <p:embed/>
            </p:oleObj>
          </a:graphicData>
        </a:graphic>
      </p:graphicFrame>
      <p:sp>
        <p:nvSpPr>
          <p:cNvPr id="5241" name="Text Box 121"/>
          <p:cNvSpPr txBox="1">
            <a:spLocks noChangeArrowheads="1"/>
          </p:cNvSpPr>
          <p:nvPr>
            <p:custDataLst>
              <p:tags r:id="rId2"/>
            </p:custDataLst>
          </p:nvPr>
        </p:nvSpPr>
        <p:spPr bwMode="gray">
          <a:xfrm>
            <a:off x="378724" y="6233502"/>
            <a:ext cx="5143500" cy="460375"/>
          </a:xfrm>
          <a:prstGeom prst="rect">
            <a:avLst/>
          </a:prstGeom>
          <a:noFill/>
          <a:ln w="9525" algn="ctr">
            <a:noFill/>
            <a:miter lim="800000"/>
            <a:headEnd type="none" w="lg" len="lg"/>
            <a:tailEnd type="none" w="lg" len="lg"/>
          </a:ln>
          <a:effectLst/>
        </p:spPr>
        <p:txBody>
          <a:bodyPr>
            <a:spAutoFit/>
          </a:bodyPr>
          <a:lstStyle/>
          <a:p>
            <a:pPr eaLnBrk="0" hangingPunct="0">
              <a:spcBef>
                <a:spcPct val="0"/>
              </a:spcBef>
            </a:pPr>
            <a:r>
              <a:rPr lang="en-US" sz="600" dirty="0">
                <a:solidFill>
                  <a:srgbClr val="808080"/>
                </a:solidFill>
              </a:rPr>
              <a:t>This presentation, including any supporting materials, is owned by Gartner, Inc. and/or its affiliates and is for the sole use of the intended Gartner audience or other authorized recipients. This presentation may contain information that is confidential, proprietary or otherwise legally protected, and it may not be further copied, distributed or publicly displayed without the express written permission of Gartner, Inc. or its affiliates.</a:t>
            </a:r>
            <a:br>
              <a:rPr lang="en-US" sz="600" dirty="0">
                <a:solidFill>
                  <a:srgbClr val="808080"/>
                </a:solidFill>
              </a:rPr>
            </a:br>
            <a:r>
              <a:rPr lang="en-US" sz="600" dirty="0">
                <a:solidFill>
                  <a:srgbClr val="808080"/>
                </a:solidFill>
              </a:rPr>
              <a:t>© </a:t>
            </a:r>
            <a:r>
              <a:rPr lang="en-US" sz="600" dirty="0" smtClean="0">
                <a:solidFill>
                  <a:srgbClr val="808080"/>
                </a:solidFill>
              </a:rPr>
              <a:t>2011 </a:t>
            </a:r>
            <a:r>
              <a:rPr lang="en-US" sz="600" dirty="0">
                <a:solidFill>
                  <a:srgbClr val="808080"/>
                </a:solidFill>
              </a:rPr>
              <a:t>Gartner, Inc. and/or its affiliates. All rights reserved.</a:t>
            </a:r>
          </a:p>
        </p:txBody>
      </p:sp>
      <p:sp>
        <p:nvSpPr>
          <p:cNvPr id="5165" name="Rectangle 45"/>
          <p:cNvSpPr>
            <a:spLocks noGrp="1" noChangeArrowheads="1"/>
          </p:cNvSpPr>
          <p:nvPr>
            <p:ph type="subTitle" idx="1"/>
            <p:custDataLst>
              <p:tags r:id="rId3"/>
            </p:custDataLst>
          </p:nvPr>
        </p:nvSpPr>
        <p:spPr bwMode="auto">
          <a:xfrm>
            <a:off x="471488" y="2433638"/>
            <a:ext cx="5908675" cy="746125"/>
          </a:xfrm>
          <a:ln algn="ctr"/>
        </p:spPr>
        <p:txBody>
          <a:bodyPr lIns="0" rIns="0"/>
          <a:lstStyle>
            <a:lvl1pPr marL="0" indent="0">
              <a:spcBef>
                <a:spcPct val="0"/>
              </a:spcBef>
              <a:spcAft>
                <a:spcPct val="0"/>
              </a:spcAft>
              <a:buFont typeface="Arial" charset="0"/>
              <a:buNone/>
              <a:defRPr sz="1400">
                <a:solidFill>
                  <a:srgbClr val="808080"/>
                </a:solidFill>
              </a:defRPr>
            </a:lvl1pPr>
          </a:lstStyle>
          <a:p>
            <a:r>
              <a:rPr lang="en-US" smtClean="0"/>
              <a:t>Click to edit Master subtitle style</a:t>
            </a:r>
            <a:endParaRPr lang="en-US" dirty="0"/>
          </a:p>
        </p:txBody>
      </p:sp>
      <p:sp>
        <p:nvSpPr>
          <p:cNvPr id="5249" name="Rectangle 129"/>
          <p:cNvSpPr>
            <a:spLocks noGrp="1" noChangeArrowheads="1"/>
          </p:cNvSpPr>
          <p:nvPr>
            <p:ph type="ctrTitle" sz="quarter"/>
            <p:custDataLst>
              <p:tags r:id="rId4"/>
            </p:custDataLst>
          </p:nvPr>
        </p:nvSpPr>
        <p:spPr bwMode="auto">
          <a:xfrm>
            <a:off x="471488" y="931863"/>
            <a:ext cx="5908675" cy="1470025"/>
          </a:xfrm>
        </p:spPr>
        <p:txBody>
          <a:bodyPr/>
          <a:lstStyle>
            <a:lvl1pPr>
              <a:defRPr/>
            </a:lvl1pPr>
          </a:lstStyle>
          <a:p>
            <a:r>
              <a:rPr lang="en-US" smtClean="0"/>
              <a:t>Click to edit Master title style</a:t>
            </a:r>
            <a:endParaRPr lang="en-US" dirty="0"/>
          </a:p>
        </p:txBody>
      </p:sp>
      <p:sp>
        <p:nvSpPr>
          <p:cNvPr id="5255" name="Text Box 135"/>
          <p:cNvSpPr txBox="1">
            <a:spLocks noChangeArrowheads="1"/>
          </p:cNvSpPr>
          <p:nvPr userDrawn="1">
            <p:custDataLst>
              <p:tags r:id="rId5"/>
            </p:custDataLst>
          </p:nvPr>
        </p:nvSpPr>
        <p:spPr bwMode="auto">
          <a:xfrm>
            <a:off x="378724" y="6004902"/>
            <a:ext cx="1385887" cy="214313"/>
          </a:xfrm>
          <a:prstGeom prst="rect">
            <a:avLst/>
          </a:prstGeom>
          <a:noFill/>
          <a:ln w="12700" algn="ctr">
            <a:noFill/>
            <a:miter lim="800000"/>
            <a:headEnd type="none" w="lg" len="lg"/>
            <a:tailEnd type="none" w="lg" len="lg"/>
          </a:ln>
          <a:effectLst/>
        </p:spPr>
        <p:txBody>
          <a:bodyPr wrap="none">
            <a:spAutoFit/>
          </a:bodyPr>
          <a:lstStyle/>
          <a:p>
            <a:r>
              <a:rPr lang="en-US" sz="800" b="1" dirty="0">
                <a:solidFill>
                  <a:srgbClr val="808080"/>
                </a:solidFill>
              </a:rPr>
              <a:t>GARTNER CONSULTING</a:t>
            </a:r>
          </a:p>
        </p:txBody>
      </p:sp>
      <p:sp>
        <p:nvSpPr>
          <p:cNvPr id="5259" name="Text Box 139"/>
          <p:cNvSpPr txBox="1">
            <a:spLocks noChangeArrowheads="1"/>
          </p:cNvSpPr>
          <p:nvPr userDrawn="1">
            <p:custDataLst>
              <p:tags r:id="rId6"/>
            </p:custDataLst>
          </p:nvPr>
        </p:nvSpPr>
        <p:spPr bwMode="auto">
          <a:xfrm>
            <a:off x="378724" y="6122377"/>
            <a:ext cx="1191352" cy="200055"/>
          </a:xfrm>
          <a:prstGeom prst="rect">
            <a:avLst/>
          </a:prstGeom>
          <a:noFill/>
          <a:ln w="12700" algn="ctr">
            <a:noFill/>
            <a:miter lim="800000"/>
            <a:headEnd type="none" w="lg" len="lg"/>
            <a:tailEnd type="none" w="lg" len="lg"/>
          </a:ln>
          <a:effectLst/>
        </p:spPr>
        <p:txBody>
          <a:bodyPr wrap="none">
            <a:spAutoFit/>
          </a:bodyPr>
          <a:lstStyle/>
          <a:p>
            <a:pPr>
              <a:defRPr/>
            </a:pPr>
            <a:r>
              <a:rPr lang="en-US" sz="700" dirty="0" smtClean="0">
                <a:solidFill>
                  <a:srgbClr val="808080"/>
                </a:solidFill>
                <a:latin typeface="Arial" pitchFamily="26" charset="0"/>
                <a:ea typeface="Arial Unicode MS" pitchFamily="26" charset="0"/>
                <a:cs typeface="Arial Unicode MS" pitchFamily="26" charset="0"/>
              </a:rPr>
              <a:t>Engagement: 223993710</a:t>
            </a:r>
            <a:endParaRPr lang="en-US" sz="700" dirty="0">
              <a:solidFill>
                <a:srgbClr val="808080"/>
              </a:solidFill>
              <a:latin typeface="Arial" pitchFamily="26" charset="0"/>
              <a:ea typeface="Arial Unicode MS" pitchFamily="26" charset="0"/>
              <a:cs typeface="Arial Unicode MS" pitchFamily="26" charset="0"/>
            </a:endParaRPr>
          </a:p>
        </p:txBody>
      </p:sp>
      <p:cxnSp>
        <p:nvCxnSpPr>
          <p:cNvPr id="11" name="Straight Connector 10"/>
          <p:cNvCxnSpPr/>
          <p:nvPr userDrawn="1"/>
        </p:nvCxnSpPr>
        <p:spPr bwMode="auto">
          <a:xfrm>
            <a:off x="482600" y="2395771"/>
            <a:ext cx="8239125" cy="1588"/>
          </a:xfrm>
          <a:prstGeom prst="line">
            <a:avLst/>
          </a:prstGeom>
          <a:noFill/>
          <a:ln w="12700">
            <a:solidFill>
              <a:schemeClr val="accent1"/>
            </a:solidFill>
            <a:round/>
            <a:headEnd type="none" w="lg" len="lg"/>
            <a:tailEnd type="none" w="lg" len="lg"/>
          </a:ln>
          <a:effectLst/>
        </p:spPr>
      </p:cxnSp>
      <p:pic>
        <p:nvPicPr>
          <p:cNvPr id="12" name="Picture 11" descr="Gartner_Lg_Blu.png"/>
          <p:cNvPicPr>
            <a:picLocks noChangeAspect="1"/>
          </p:cNvPicPr>
          <p:nvPr userDrawn="1"/>
        </p:nvPicPr>
        <p:blipFill>
          <a:blip r:embed="rId9" cstate="print"/>
          <a:srcRect t="28264" b="31285"/>
          <a:stretch>
            <a:fillRect/>
          </a:stretch>
        </p:blipFill>
        <p:spPr>
          <a:xfrm>
            <a:off x="7296912" y="6315075"/>
            <a:ext cx="1684020" cy="322263"/>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81000" y="38100"/>
            <a:ext cx="8318500" cy="881063"/>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81000" y="1360488"/>
            <a:ext cx="8299450" cy="4732337"/>
          </a:xfrm>
        </p:spPr>
        <p:txBody>
          <a:bodyPr/>
          <a:lstStyle/>
          <a:p>
            <a:pPr lvl="0"/>
            <a:endParaRPr lang="en-US" noProof="0" smtClean="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Divider Option 1">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nvGraphicFramePr>
        <p:xfrm>
          <a:off x="0" y="0"/>
          <a:ext cx="158750" cy="158750"/>
        </p:xfrm>
        <a:graphic>
          <a:graphicData uri="http://schemas.openxmlformats.org/presentationml/2006/ole">
            <p:oleObj spid="_x0000_s549890" name="think-cell Slide" r:id="rId6" imgW="0" imgH="0" progId="">
              <p:embed/>
            </p:oleObj>
          </a:graphicData>
        </a:graphic>
      </p:graphicFrame>
      <p:sp>
        <p:nvSpPr>
          <p:cNvPr id="5165" name="Rectangle 45"/>
          <p:cNvSpPr>
            <a:spLocks noGrp="1" noChangeArrowheads="1"/>
          </p:cNvSpPr>
          <p:nvPr>
            <p:ph type="subTitle" idx="1"/>
            <p:custDataLst>
              <p:tags r:id="rId2"/>
            </p:custDataLst>
          </p:nvPr>
        </p:nvSpPr>
        <p:spPr bwMode="auto">
          <a:xfrm>
            <a:off x="471488" y="2433638"/>
            <a:ext cx="5908675" cy="746125"/>
          </a:xfrm>
          <a:ln algn="ctr"/>
        </p:spPr>
        <p:txBody>
          <a:bodyPr lIns="0" rIns="0"/>
          <a:lstStyle>
            <a:lvl1pPr marL="0" indent="0">
              <a:spcBef>
                <a:spcPct val="0"/>
              </a:spcBef>
              <a:spcAft>
                <a:spcPct val="0"/>
              </a:spcAft>
              <a:buFont typeface="Arial" charset="0"/>
              <a:buNone/>
              <a:defRPr sz="1400">
                <a:solidFill>
                  <a:srgbClr val="808080"/>
                </a:solidFill>
              </a:defRPr>
            </a:lvl1pPr>
          </a:lstStyle>
          <a:p>
            <a:r>
              <a:rPr lang="en-US" smtClean="0"/>
              <a:t>Click to edit Master subtitle style</a:t>
            </a:r>
            <a:endParaRPr lang="en-US" dirty="0"/>
          </a:p>
        </p:txBody>
      </p:sp>
      <p:sp>
        <p:nvSpPr>
          <p:cNvPr id="5249" name="Rectangle 129"/>
          <p:cNvSpPr>
            <a:spLocks noGrp="1" noChangeArrowheads="1"/>
          </p:cNvSpPr>
          <p:nvPr>
            <p:ph type="ctrTitle" sz="quarter" hasCustomPrompt="1"/>
            <p:custDataLst>
              <p:tags r:id="rId3"/>
            </p:custDataLst>
          </p:nvPr>
        </p:nvSpPr>
        <p:spPr bwMode="auto">
          <a:xfrm>
            <a:off x="471488" y="931863"/>
            <a:ext cx="5908675" cy="1470025"/>
          </a:xfrm>
        </p:spPr>
        <p:txBody>
          <a:bodyPr/>
          <a:lstStyle>
            <a:lvl1pPr>
              <a:defRPr/>
            </a:lvl1pPr>
          </a:lstStyle>
          <a:p>
            <a:r>
              <a:rPr lang="en-US" dirty="0" err="1" smtClean="0"/>
              <a:t>DividerTitle</a:t>
            </a:r>
            <a:endParaRPr lang="en-US" dirty="0"/>
          </a:p>
        </p:txBody>
      </p:sp>
      <p:cxnSp>
        <p:nvCxnSpPr>
          <p:cNvPr id="11" name="Straight Connector 10"/>
          <p:cNvCxnSpPr/>
          <p:nvPr userDrawn="1"/>
        </p:nvCxnSpPr>
        <p:spPr bwMode="auto">
          <a:xfrm>
            <a:off x="482600" y="2395771"/>
            <a:ext cx="8239125" cy="1588"/>
          </a:xfrm>
          <a:prstGeom prst="line">
            <a:avLst/>
          </a:prstGeom>
          <a:noFill/>
          <a:ln w="12700">
            <a:solidFill>
              <a:schemeClr val="accent1"/>
            </a:solidFill>
            <a:round/>
            <a:headEnd type="none" w="lg" len="lg"/>
            <a:tailEnd type="none" w="lg" len="lg"/>
          </a:ln>
          <a:effectLst/>
        </p:spPr>
      </p:cxnSp>
      <p:sp>
        <p:nvSpPr>
          <p:cNvPr id="12" name="Text Box 230"/>
          <p:cNvSpPr txBox="1">
            <a:spLocks noChangeArrowheads="1"/>
          </p:cNvSpPr>
          <p:nvPr userDrawn="1">
            <p:custDataLst>
              <p:tags r:id="rId4"/>
            </p:custDataLst>
          </p:nvPr>
        </p:nvSpPr>
        <p:spPr bwMode="gray">
          <a:xfrm>
            <a:off x="376238" y="6236375"/>
            <a:ext cx="3367088" cy="461665"/>
          </a:xfrm>
          <a:prstGeom prst="rect">
            <a:avLst/>
          </a:prstGeom>
          <a:noFill/>
          <a:ln w="9525">
            <a:noFill/>
            <a:miter lim="800000"/>
            <a:headEnd type="none" w="lg" len="lg"/>
            <a:tailEnd type="none" w="lg" len="lg"/>
          </a:ln>
          <a:effectLst/>
        </p:spPr>
        <p:txBody>
          <a:bodyPr>
            <a:spAutoFit/>
          </a:bodyPr>
          <a:lstStyle/>
          <a:p>
            <a:pPr marL="0" marR="0" indent="0" algn="l" defTabSz="914400" rtl="0" eaLnBrk="0" fontAlgn="base" latinLnBrk="0" hangingPunct="0">
              <a:lnSpc>
                <a:spcPct val="100000"/>
              </a:lnSpc>
              <a:spcBef>
                <a:spcPct val="0"/>
              </a:spcBef>
              <a:spcAft>
                <a:spcPct val="0"/>
              </a:spcAft>
              <a:buClrTx/>
              <a:buSzTx/>
              <a:buFontTx/>
              <a:buNone/>
              <a:tabLst/>
              <a:defRPr/>
            </a:pPr>
            <a:r>
              <a:rPr lang="en-US" sz="800" dirty="0" smtClean="0">
                <a:solidFill>
                  <a:srgbClr val="808080"/>
                </a:solidFill>
                <a:latin typeface="Arial" pitchFamily="26" charset="0"/>
                <a:ea typeface="Arial Unicode MS" pitchFamily="26" charset="0"/>
                <a:cs typeface="Arial Unicode MS" pitchFamily="26" charset="0"/>
              </a:rPr>
              <a:t>Engagement: 223993710</a:t>
            </a:r>
          </a:p>
          <a:p>
            <a:pPr marL="0" eaLnBrk="0" hangingPunct="0">
              <a:spcBef>
                <a:spcPct val="0"/>
              </a:spcBef>
            </a:pPr>
            <a:r>
              <a:rPr lang="en-US" sz="800" dirty="0" smtClean="0">
                <a:solidFill>
                  <a:srgbClr val="808080"/>
                </a:solidFill>
              </a:rPr>
              <a:t>© 2011 </a:t>
            </a:r>
            <a:r>
              <a:rPr lang="en-US" sz="800" dirty="0">
                <a:solidFill>
                  <a:srgbClr val="808080"/>
                </a:solidFill>
              </a:rPr>
              <a:t>Gartner, Inc. and/or its affiliates. All rights reserved. </a:t>
            </a:r>
          </a:p>
          <a:p>
            <a:pPr marL="0" eaLnBrk="0" hangingPunct="0">
              <a:spcBef>
                <a:spcPct val="0"/>
              </a:spcBef>
            </a:pPr>
            <a:r>
              <a:rPr lang="en-US" sz="800" dirty="0">
                <a:solidFill>
                  <a:srgbClr val="808080"/>
                </a:solidFill>
              </a:rPr>
              <a:t>Gartner is a registered trademark of Gartner, Inc. or its affiliates.</a:t>
            </a:r>
          </a:p>
        </p:txBody>
      </p:sp>
      <p:sp>
        <p:nvSpPr>
          <p:cNvPr id="13" name="Text Box 21"/>
          <p:cNvSpPr txBox="1">
            <a:spLocks noChangeArrowheads="1"/>
          </p:cNvSpPr>
          <p:nvPr userDrawn="1"/>
        </p:nvSpPr>
        <p:spPr bwMode="auto">
          <a:xfrm>
            <a:off x="3714750" y="6245503"/>
            <a:ext cx="1746250" cy="390525"/>
          </a:xfrm>
          <a:prstGeom prst="rect">
            <a:avLst/>
          </a:prstGeom>
          <a:noFill/>
          <a:ln w="9525">
            <a:noFill/>
            <a:miter lim="800000"/>
            <a:headEnd/>
            <a:tailEnd/>
          </a:ln>
          <a:effectLst/>
        </p:spPr>
        <p:txBody>
          <a:bodyPr lIns="0" tIns="0" rIns="0" bIns="0" anchor="b"/>
          <a:lstStyle/>
          <a:p>
            <a:pPr algn="ctr">
              <a:spcBef>
                <a:spcPct val="0"/>
              </a:spcBef>
              <a:buClrTx/>
              <a:buSzTx/>
              <a:buFontTx/>
              <a:buNone/>
              <a:defRPr/>
            </a:pPr>
            <a:fld id="{0DCACFB8-26F6-42D6-BECD-8F4C7C90C586}" type="slidenum">
              <a:rPr lang="en-US" sz="800" kern="1200" smtClean="0">
                <a:solidFill>
                  <a:srgbClr val="808080"/>
                </a:solidFill>
                <a:latin typeface="Arial" charset="0"/>
                <a:ea typeface="Arial Unicode MS" pitchFamily="34" charset="-128"/>
                <a:cs typeface="Arial Unicode MS" pitchFamily="34" charset="-128"/>
              </a:rPr>
              <a:pPr algn="ctr">
                <a:spcBef>
                  <a:spcPct val="0"/>
                </a:spcBef>
                <a:buClrTx/>
                <a:buSzTx/>
                <a:buFontTx/>
                <a:buNone/>
                <a:defRPr/>
              </a:pPr>
              <a:t>‹#›</a:t>
            </a:fld>
            <a:endParaRPr lang="en-US" altLang="en-US" sz="800" kern="1200" dirty="0">
              <a:solidFill>
                <a:srgbClr val="808080"/>
              </a:solidFill>
              <a:latin typeface="Arial" charset="0"/>
              <a:ea typeface="Arial Unicode MS" pitchFamily="34" charset="-128"/>
              <a:cs typeface="Arial Unicode MS" pitchFamily="34" charset="-128"/>
            </a:endParaRPr>
          </a:p>
        </p:txBody>
      </p:sp>
      <p:pic>
        <p:nvPicPr>
          <p:cNvPr id="9" name="Picture 8" descr="Gartner_Lg_Blu.png"/>
          <p:cNvPicPr>
            <a:picLocks noChangeAspect="1"/>
          </p:cNvPicPr>
          <p:nvPr userDrawn="1"/>
        </p:nvPicPr>
        <p:blipFill>
          <a:blip r:embed="rId7" cstate="print"/>
          <a:srcRect t="28264" b="31285"/>
          <a:stretch>
            <a:fillRect/>
          </a:stretch>
        </p:blipFill>
        <p:spPr>
          <a:xfrm>
            <a:off x="7296912" y="6315075"/>
            <a:ext cx="1684020" cy="322263"/>
          </a:xfrm>
          <a:prstGeom prst="rect">
            <a:avLst/>
          </a:prstGeom>
        </p:spPr>
      </p:pic>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Divider Option 2">
    <p:spTree>
      <p:nvGrpSpPr>
        <p:cNvPr id="1" name=""/>
        <p:cNvGrpSpPr/>
        <p:nvPr/>
      </p:nvGrpSpPr>
      <p:grpSpPr>
        <a:xfrm>
          <a:off x="0" y="0"/>
          <a:ext cx="0" cy="0"/>
          <a:chOff x="0" y="0"/>
          <a:chExt cx="0" cy="0"/>
        </a:xfrm>
      </p:grpSpPr>
      <p:sp>
        <p:nvSpPr>
          <p:cNvPr id="2" name="Title 1"/>
          <p:cNvSpPr>
            <a:spLocks noGrp="1"/>
          </p:cNvSpPr>
          <p:nvPr>
            <p:ph type="title"/>
          </p:nvPr>
        </p:nvSpPr>
        <p:spPr>
          <a:xfrm>
            <a:off x="482600" y="4406900"/>
            <a:ext cx="8250238" cy="1362075"/>
          </a:xfrm>
          <a:noFill/>
          <a:ln w="9525" algn="ctr">
            <a:noFill/>
            <a:miter lim="800000"/>
            <a:headEnd/>
            <a:tailEnd/>
          </a:ln>
          <a:effectLst/>
        </p:spPr>
        <p:txBody>
          <a:bodyPr vert="horz" wrap="square" lIns="0" tIns="45720" rIns="0" bIns="45720" numCol="1" anchor="t" anchorCtr="0" compatLnSpc="1">
            <a:prstTxWarp prst="textNoShape">
              <a:avLst/>
            </a:prstTxWarp>
          </a:bodyPr>
          <a:lstStyle>
            <a:lvl1pPr marL="0" indent="0" algn="l" rtl="0" eaLnBrk="1" fontAlgn="base" hangingPunct="1">
              <a:spcBef>
                <a:spcPct val="0"/>
              </a:spcBef>
              <a:spcAft>
                <a:spcPct val="0"/>
              </a:spcAft>
              <a:buClr>
                <a:schemeClr val="accent1"/>
              </a:buClr>
              <a:buFont typeface="Arial" charset="0"/>
              <a:buNone/>
              <a:defRPr lang="en-US" sz="1400" dirty="0">
                <a:solidFill>
                  <a:srgbClr val="808080"/>
                </a:solidFill>
                <a:latin typeface="+mn-lt"/>
                <a:ea typeface="+mn-ea"/>
                <a:cs typeface="+mn-cs"/>
              </a:defRPr>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482600" y="2906713"/>
            <a:ext cx="8250238" cy="1500187"/>
          </a:xfrm>
          <a:noFill/>
          <a:ln w="9525">
            <a:noFill/>
            <a:miter lim="800000"/>
            <a:headEnd/>
            <a:tailEnd/>
          </a:ln>
          <a:effectLst/>
        </p:spPr>
        <p:txBody>
          <a:bodyPr vert="horz" wrap="square" lIns="0" tIns="45720" rIns="0" bIns="45720" numCol="1" anchor="b" anchorCtr="0" compatLnSpc="1">
            <a:prstTxWarp prst="textNoShape">
              <a:avLst/>
            </a:prstTxWarp>
          </a:bodyPr>
          <a:lstStyle>
            <a:lvl1pPr marL="0" indent="0" algn="l" rtl="0" eaLnBrk="1" fontAlgn="base" hangingPunct="1">
              <a:spcBef>
                <a:spcPct val="0"/>
              </a:spcBef>
              <a:spcAft>
                <a:spcPct val="0"/>
              </a:spcAft>
              <a:buNone/>
              <a:defRPr lang="en-US" dirty="0" smtClean="0">
                <a:solidFill>
                  <a:schemeClr val="accent1"/>
                </a:solidFill>
                <a:latin typeface="+mj-lt"/>
                <a:ea typeface="+mj-ea"/>
                <a:cs typeface="+mj-cs"/>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err="1" smtClean="0"/>
              <a:t>DividerTitle</a:t>
            </a:r>
            <a:endParaRPr lang="en-US" dirty="0" smtClean="0"/>
          </a:p>
        </p:txBody>
      </p:sp>
      <p:sp>
        <p:nvSpPr>
          <p:cNvPr id="7" name="Rectangle 6"/>
          <p:cNvSpPr/>
          <p:nvPr userDrawn="1"/>
        </p:nvSpPr>
        <p:spPr bwMode="white">
          <a:xfrm>
            <a:off x="212035" y="5989983"/>
            <a:ext cx="8509690" cy="251791"/>
          </a:xfrm>
          <a:prstGeom prst="rect">
            <a:avLst/>
          </a:prstGeom>
          <a:solidFill>
            <a:schemeClr val="bg1"/>
          </a:solidFill>
          <a:ln w="28575" algn="ctr">
            <a:noFill/>
            <a:round/>
            <a:headEnd/>
            <a:tailEnd/>
          </a:ln>
        </p:spPr>
        <p:txBody>
          <a:bodyPr wrap="none" lIns="45720" rIns="45720" rtlCol="0" anchor="ctr"/>
          <a:lstStyle/>
          <a:p>
            <a:pPr algn="ctr">
              <a:spcBef>
                <a:spcPct val="0"/>
              </a:spcBef>
              <a:buSzTx/>
            </a:pPr>
            <a:endParaRPr lang="en-US" sz="1200" dirty="0">
              <a:solidFill>
                <a:schemeClr val="tx1"/>
              </a:solidFill>
            </a:endParaRPr>
          </a:p>
        </p:txBody>
      </p:sp>
      <p:sp>
        <p:nvSpPr>
          <p:cNvPr id="8" name="Rectangle 7"/>
          <p:cNvSpPr/>
          <p:nvPr userDrawn="1"/>
        </p:nvSpPr>
        <p:spPr bwMode="white">
          <a:xfrm>
            <a:off x="291544" y="854765"/>
            <a:ext cx="8509690" cy="251791"/>
          </a:xfrm>
          <a:prstGeom prst="rect">
            <a:avLst/>
          </a:prstGeom>
          <a:solidFill>
            <a:schemeClr val="bg1"/>
          </a:solidFill>
          <a:ln w="28575" algn="ctr">
            <a:noFill/>
            <a:round/>
            <a:headEnd/>
            <a:tailEnd/>
          </a:ln>
        </p:spPr>
        <p:txBody>
          <a:bodyPr wrap="none" lIns="45720" rIns="45720" rtlCol="0" anchor="ctr"/>
          <a:lstStyle/>
          <a:p>
            <a:pPr algn="ctr">
              <a:spcBef>
                <a:spcPct val="0"/>
              </a:spcBef>
              <a:buSzTx/>
            </a:pPr>
            <a:endParaRPr lang="en-US" sz="1200" dirty="0">
              <a:solidFill>
                <a:schemeClr val="tx1"/>
              </a:solidFill>
            </a:endParaRPr>
          </a:p>
        </p:txBody>
      </p:sp>
      <p:cxnSp>
        <p:nvCxnSpPr>
          <p:cNvPr id="14" name="Straight Connector 13"/>
          <p:cNvCxnSpPr/>
          <p:nvPr userDrawn="1"/>
        </p:nvCxnSpPr>
        <p:spPr bwMode="auto">
          <a:xfrm>
            <a:off x="482600" y="4410075"/>
            <a:ext cx="8239125" cy="1588"/>
          </a:xfrm>
          <a:prstGeom prst="line">
            <a:avLst/>
          </a:prstGeom>
          <a:noFill/>
          <a:ln w="12700">
            <a:solidFill>
              <a:schemeClr val="accent1"/>
            </a:solidFill>
            <a:round/>
            <a:headEnd type="none" w="lg" len="lg"/>
            <a:tailEnd type="none" w="lg" len="lg"/>
          </a:ln>
          <a:effectLst/>
        </p:spPr>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2599" y="357187"/>
            <a:ext cx="8203565" cy="663575"/>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482600" y="1263650"/>
            <a:ext cx="8212138" cy="4649788"/>
          </a:xfrm>
          <a:noFill/>
          <a:ln w="9525">
            <a:noFill/>
            <a:miter lim="800000"/>
            <a:headEnd/>
            <a:tailEnd/>
          </a:ln>
          <a:effectLst/>
        </p:spPr>
        <p:txBody>
          <a:bodyPr vert="horz" wrap="square" lIns="45720" tIns="45720" rIns="45720" bIns="45720" numCol="1" anchor="t" anchorCtr="0" compatLnSpc="1">
            <a:prstTxWarp prst="textNoShape">
              <a:avLst/>
            </a:prstTxWarp>
          </a:bodyPr>
          <a:lstStyle>
            <a:lvl1pPr algn="l" rtl="0" eaLnBrk="1" fontAlgn="base" hangingPunct="1">
              <a:spcBef>
                <a:spcPct val="30000"/>
              </a:spcBef>
              <a:spcAft>
                <a:spcPct val="10000"/>
              </a:spcAft>
              <a:defRPr lang="en-US" sz="1600" dirty="0" smtClean="0">
                <a:solidFill>
                  <a:schemeClr val="tx1"/>
                </a:solidFill>
                <a:latin typeface="+mn-lt"/>
                <a:ea typeface="+mn-ea"/>
                <a:cs typeface="+mn-cs"/>
              </a:defRPr>
            </a:lvl1pPr>
            <a:lvl2pPr algn="l" rtl="0" eaLnBrk="1" fontAlgn="base" hangingPunct="1">
              <a:spcBef>
                <a:spcPts val="432"/>
              </a:spcBef>
              <a:spcAft>
                <a:spcPct val="10000"/>
              </a:spcAft>
              <a:defRPr lang="en-US" sz="1400" dirty="0" smtClean="0">
                <a:solidFill>
                  <a:schemeClr val="tx1"/>
                </a:solidFill>
                <a:latin typeface="+mn-lt"/>
                <a:ea typeface="+mn-ea"/>
                <a:cs typeface="+mn-cs"/>
              </a:defRPr>
            </a:lvl2pPr>
            <a:lvl3pPr algn="l" rtl="0" eaLnBrk="1" fontAlgn="base" hangingPunct="1">
              <a:spcBef>
                <a:spcPct val="30000"/>
              </a:spcBef>
              <a:spcAft>
                <a:spcPct val="10000"/>
              </a:spcAft>
              <a:defRPr lang="en-US" sz="1200" dirty="0" smtClean="0">
                <a:solidFill>
                  <a:schemeClr val="tx1"/>
                </a:solidFill>
                <a:latin typeface="+mn-lt"/>
                <a:ea typeface="+mn-ea"/>
                <a:cs typeface="+mn-cs"/>
              </a:defRPr>
            </a:lvl3pPr>
            <a:lvl4pPr marL="863600" indent="-173038" algn="l" rtl="0" eaLnBrk="1" fontAlgn="base" hangingPunct="1">
              <a:spcBef>
                <a:spcPct val="30000"/>
              </a:spcBef>
              <a:spcAft>
                <a:spcPct val="10000"/>
              </a:spcAft>
              <a:defRPr lang="en-US" sz="1200" dirty="0" smtClean="0">
                <a:solidFill>
                  <a:schemeClr val="tx1"/>
                </a:solidFill>
                <a:latin typeface="+mn-lt"/>
                <a:ea typeface="+mn-ea"/>
                <a:cs typeface="+mn-cs"/>
              </a:defRPr>
            </a:lvl4pPr>
            <a:lvl5pPr marL="1084263" indent="-173038" algn="l" rtl="0" eaLnBrk="1" fontAlgn="base" hangingPunct="1">
              <a:spcBef>
                <a:spcPct val="30000"/>
              </a:spcBef>
              <a:spcAft>
                <a:spcPct val="100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82599" y="357188"/>
            <a:ext cx="8203565" cy="663574"/>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82600" y="1263650"/>
            <a:ext cx="4023360" cy="4725988"/>
          </a:xfrm>
          <a:noFill/>
          <a:ln w="9525">
            <a:noFill/>
            <a:miter lim="800000"/>
            <a:headEnd/>
            <a:tailEnd/>
          </a:ln>
          <a:effectLst/>
        </p:spPr>
        <p:txBody>
          <a:bodyPr vert="horz" wrap="square" lIns="45720" tIns="45720" rIns="45720" bIns="45720" numCol="1" anchor="t" anchorCtr="0" compatLnSpc="1">
            <a:prstTxWarp prst="textNoShape">
              <a:avLst/>
            </a:prstTxWarp>
          </a:bodyPr>
          <a:lstStyle>
            <a:lvl1pPr algn="l" rtl="0" eaLnBrk="1" fontAlgn="base" hangingPunct="1">
              <a:spcAft>
                <a:spcPct val="10000"/>
              </a:spcAft>
              <a:defRPr lang="en-US" sz="1600" dirty="0" smtClean="0">
                <a:solidFill>
                  <a:schemeClr val="tx1"/>
                </a:solidFill>
                <a:latin typeface="+mn-lt"/>
                <a:ea typeface="+mn-ea"/>
                <a:cs typeface="+mn-cs"/>
              </a:defRPr>
            </a:lvl1pPr>
            <a:lvl2pPr algn="l" rtl="0" eaLnBrk="1" fontAlgn="base" hangingPunct="1">
              <a:spcAft>
                <a:spcPct val="10000"/>
              </a:spcAft>
              <a:defRPr lang="en-US" sz="1400" dirty="0" smtClean="0">
                <a:solidFill>
                  <a:schemeClr val="tx1"/>
                </a:solidFill>
                <a:latin typeface="+mn-lt"/>
                <a:ea typeface="+mn-ea"/>
                <a:cs typeface="+mn-cs"/>
              </a:defRPr>
            </a:lvl2pPr>
            <a:lvl3pPr algn="l" rtl="0" eaLnBrk="1" fontAlgn="base" hangingPunct="1">
              <a:spcAft>
                <a:spcPct val="10000"/>
              </a:spcAft>
              <a:defRPr lang="en-US" sz="1200" dirty="0" smtClean="0">
                <a:solidFill>
                  <a:schemeClr val="tx1"/>
                </a:solidFill>
                <a:latin typeface="+mn-lt"/>
                <a:ea typeface="+mn-ea"/>
                <a:cs typeface="+mn-cs"/>
              </a:defRPr>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79950" y="1263650"/>
            <a:ext cx="4016376" cy="4725988"/>
          </a:xfrm>
          <a:noFill/>
          <a:ln w="9525">
            <a:noFill/>
            <a:miter lim="800000"/>
            <a:headEnd/>
            <a:tailEnd/>
          </a:ln>
          <a:effectLst/>
        </p:spPr>
        <p:txBody>
          <a:bodyPr vert="horz" wrap="square" lIns="45720" tIns="45720" rIns="45720" bIns="45720" numCol="1" anchor="t" anchorCtr="0" compatLnSpc="1">
            <a:prstTxWarp prst="textNoShape">
              <a:avLst/>
            </a:prstTxWarp>
          </a:bodyPr>
          <a:lstStyle>
            <a:lvl1pPr algn="l" rtl="0" eaLnBrk="1" fontAlgn="base" hangingPunct="1">
              <a:spcAft>
                <a:spcPct val="10000"/>
              </a:spcAft>
              <a:defRPr lang="en-US" sz="1600" dirty="0" smtClean="0">
                <a:solidFill>
                  <a:schemeClr val="tx1"/>
                </a:solidFill>
                <a:latin typeface="+mn-lt"/>
                <a:ea typeface="+mn-ea"/>
                <a:cs typeface="+mn-cs"/>
              </a:defRPr>
            </a:lvl1pPr>
            <a:lvl2pPr algn="l" rtl="0" eaLnBrk="1" fontAlgn="base" hangingPunct="1">
              <a:spcAft>
                <a:spcPct val="10000"/>
              </a:spcAft>
              <a:defRPr lang="en-US" sz="1400" dirty="0" smtClean="0">
                <a:solidFill>
                  <a:schemeClr val="tx1"/>
                </a:solidFill>
                <a:latin typeface="+mn-lt"/>
                <a:ea typeface="+mn-ea"/>
                <a:cs typeface="+mn-cs"/>
              </a:defRPr>
            </a:lvl2pPr>
            <a:lvl3pPr algn="l" rtl="0" eaLnBrk="1" fontAlgn="base" hangingPunct="1">
              <a:spcAft>
                <a:spcPct val="10000"/>
              </a:spcAft>
              <a:defRPr lang="en-US" sz="1200" dirty="0" smtClean="0">
                <a:solidFill>
                  <a:schemeClr val="tx1"/>
                </a:solidFill>
                <a:latin typeface="+mn-lt"/>
                <a:ea typeface="+mn-ea"/>
                <a:cs typeface="+mn-cs"/>
              </a:defRPr>
            </a:lvl3pPr>
            <a:lvl4pPr algn="l" rtl="0" eaLnBrk="1" fontAlgn="base" hangingPunct="1">
              <a:spcAft>
                <a:spcPct val="10000"/>
              </a:spcAft>
              <a:defRPr lang="en-US" sz="1200" dirty="0" smtClean="0">
                <a:solidFill>
                  <a:schemeClr val="tx1"/>
                </a:solidFill>
                <a:latin typeface="+mn-lt"/>
                <a:ea typeface="+mn-ea"/>
                <a:cs typeface="+mn-cs"/>
              </a:defRPr>
            </a:lvl4pPr>
            <a:lvl5pPr algn="l" rtl="0" eaLnBrk="1" fontAlgn="base" hangingPunct="1">
              <a:spcAft>
                <a:spcPct val="10000"/>
              </a:spcAft>
              <a:defRPr lang="en-US" sz="120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71237" y="1177309"/>
            <a:ext cx="4032504" cy="359948"/>
          </a:xfrm>
          <a:ln w="12700">
            <a:solidFill>
              <a:schemeClr val="tx2"/>
            </a:solidFill>
          </a:ln>
        </p:spPr>
        <p:txBody>
          <a:bodyPr anchor="b"/>
          <a:lstStyle>
            <a:lvl1pPr marL="0" indent="0" algn="ctr">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4665663" y="1177309"/>
            <a:ext cx="4033117" cy="359948"/>
          </a:xfrm>
          <a:ln w="12700">
            <a:solidFill>
              <a:schemeClr val="tx2"/>
            </a:solidFill>
          </a:ln>
        </p:spPr>
        <p:txBody>
          <a:bodyPr anchor="b"/>
          <a:lstStyle>
            <a:lvl1pPr marL="0" indent="0" algn="ctr">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Title 1"/>
          <p:cNvSpPr>
            <a:spLocks noGrp="1"/>
          </p:cNvSpPr>
          <p:nvPr>
            <p:ph type="title"/>
          </p:nvPr>
        </p:nvSpPr>
        <p:spPr>
          <a:xfrm>
            <a:off x="482599" y="357188"/>
            <a:ext cx="8203565" cy="663574"/>
          </a:xfrm>
        </p:spPr>
        <p:txBody>
          <a:bodyPr/>
          <a:lstStyle/>
          <a:p>
            <a:r>
              <a:rPr lang="en-US" smtClean="0"/>
              <a:t>Click to edit Master title style</a:t>
            </a:r>
            <a:endParaRPr lang="en-US" dirty="0"/>
          </a:p>
        </p:txBody>
      </p:sp>
      <p:sp>
        <p:nvSpPr>
          <p:cNvPr id="8" name="Content Placeholder 2"/>
          <p:cNvSpPr>
            <a:spLocks noGrp="1"/>
          </p:cNvSpPr>
          <p:nvPr>
            <p:ph sz="half" idx="10"/>
          </p:nvPr>
        </p:nvSpPr>
        <p:spPr>
          <a:xfrm>
            <a:off x="482600" y="1603512"/>
            <a:ext cx="4023360" cy="4386125"/>
          </a:xfrm>
          <a:noFill/>
          <a:ln w="9525">
            <a:noFill/>
            <a:miter lim="800000"/>
            <a:headEnd/>
            <a:tailEnd/>
          </a:ln>
          <a:effectLst/>
        </p:spPr>
        <p:txBody>
          <a:bodyPr vert="horz" wrap="square" lIns="45720" tIns="45720" rIns="45720" bIns="45720" numCol="1" anchor="t" anchorCtr="0" compatLnSpc="1">
            <a:prstTxWarp prst="textNoShape">
              <a:avLst/>
            </a:prstTxWarp>
          </a:bodyPr>
          <a:lstStyle>
            <a:lvl1pPr algn="l" rtl="0" eaLnBrk="1" fontAlgn="base" hangingPunct="1">
              <a:spcAft>
                <a:spcPct val="10000"/>
              </a:spcAft>
              <a:defRPr lang="en-US" sz="1600" dirty="0" smtClean="0">
                <a:solidFill>
                  <a:schemeClr val="tx1"/>
                </a:solidFill>
                <a:latin typeface="+mn-lt"/>
                <a:ea typeface="+mn-ea"/>
                <a:cs typeface="+mn-cs"/>
              </a:defRPr>
            </a:lvl1pPr>
            <a:lvl2pPr algn="l" rtl="0" eaLnBrk="1" fontAlgn="base" hangingPunct="1">
              <a:spcAft>
                <a:spcPct val="10000"/>
              </a:spcAft>
              <a:defRPr lang="en-US" sz="1400" dirty="0" smtClean="0">
                <a:solidFill>
                  <a:schemeClr val="tx1"/>
                </a:solidFill>
                <a:latin typeface="+mn-lt"/>
                <a:ea typeface="+mn-ea"/>
                <a:cs typeface="+mn-cs"/>
              </a:defRPr>
            </a:lvl2pPr>
            <a:lvl3pPr algn="l" rtl="0" eaLnBrk="1" fontAlgn="base" hangingPunct="1">
              <a:spcAft>
                <a:spcPct val="10000"/>
              </a:spcAft>
              <a:defRPr lang="en-US" sz="1200" dirty="0" smtClean="0">
                <a:solidFill>
                  <a:schemeClr val="tx1"/>
                </a:solidFill>
                <a:latin typeface="+mn-lt"/>
                <a:ea typeface="+mn-ea"/>
                <a:cs typeface="+mn-cs"/>
              </a:defRPr>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3"/>
          <p:cNvSpPr>
            <a:spLocks noGrp="1"/>
          </p:cNvSpPr>
          <p:nvPr>
            <p:ph sz="half" idx="2"/>
          </p:nvPr>
        </p:nvSpPr>
        <p:spPr>
          <a:xfrm>
            <a:off x="4679950" y="1603512"/>
            <a:ext cx="4016376" cy="4386125"/>
          </a:xfrm>
          <a:noFill/>
          <a:ln w="9525">
            <a:noFill/>
            <a:miter lim="800000"/>
            <a:headEnd/>
            <a:tailEnd/>
          </a:ln>
          <a:effectLst/>
        </p:spPr>
        <p:txBody>
          <a:bodyPr vert="horz" wrap="square" lIns="45720" tIns="45720" rIns="45720" bIns="45720" numCol="1" anchor="t" anchorCtr="0" compatLnSpc="1">
            <a:prstTxWarp prst="textNoShape">
              <a:avLst/>
            </a:prstTxWarp>
          </a:bodyPr>
          <a:lstStyle>
            <a:lvl1pPr algn="l" rtl="0" eaLnBrk="1" fontAlgn="base" hangingPunct="1">
              <a:spcAft>
                <a:spcPct val="10000"/>
              </a:spcAft>
              <a:defRPr lang="en-US" sz="1600" dirty="0" smtClean="0">
                <a:solidFill>
                  <a:schemeClr val="tx1"/>
                </a:solidFill>
                <a:latin typeface="+mn-lt"/>
                <a:ea typeface="+mn-ea"/>
                <a:cs typeface="+mn-cs"/>
              </a:defRPr>
            </a:lvl1pPr>
            <a:lvl2pPr algn="l" rtl="0" eaLnBrk="1" fontAlgn="base" hangingPunct="1">
              <a:spcAft>
                <a:spcPct val="10000"/>
              </a:spcAft>
              <a:defRPr lang="en-US" sz="1400" dirty="0" smtClean="0">
                <a:solidFill>
                  <a:schemeClr val="tx1"/>
                </a:solidFill>
                <a:latin typeface="+mn-lt"/>
                <a:ea typeface="+mn-ea"/>
                <a:cs typeface="+mn-cs"/>
              </a:defRPr>
            </a:lvl2pPr>
            <a:lvl3pPr algn="l" rtl="0" eaLnBrk="1" fontAlgn="base" hangingPunct="1">
              <a:spcAft>
                <a:spcPct val="10000"/>
              </a:spcAft>
              <a:defRPr lang="en-US" sz="1200" dirty="0" smtClean="0">
                <a:solidFill>
                  <a:schemeClr val="tx1"/>
                </a:solidFill>
                <a:latin typeface="+mn-lt"/>
                <a:ea typeface="+mn-ea"/>
                <a:cs typeface="+mn-cs"/>
              </a:defRPr>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chartAndTx">
  <p:cSld name="Title, Ch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482600" y="356616"/>
            <a:ext cx="8212138" cy="667512"/>
          </a:xfrm>
        </p:spPr>
        <p:txBody>
          <a:bodyPr/>
          <a:lstStyle/>
          <a:p>
            <a:r>
              <a:rPr lang="en-US" smtClean="0"/>
              <a:t>Click to edit Master title style</a:t>
            </a:r>
            <a:endParaRPr lang="en-US" dirty="0"/>
          </a:p>
        </p:txBody>
      </p:sp>
      <p:sp>
        <p:nvSpPr>
          <p:cNvPr id="3" name="Chart Placeholder 2"/>
          <p:cNvSpPr>
            <a:spLocks noGrp="1"/>
          </p:cNvSpPr>
          <p:nvPr>
            <p:ph type="chart" sz="half" idx="1"/>
          </p:nvPr>
        </p:nvSpPr>
        <p:spPr>
          <a:xfrm>
            <a:off x="482600" y="1360489"/>
            <a:ext cx="4023358" cy="4629150"/>
          </a:xfrm>
          <a:noFill/>
          <a:ln w="9525">
            <a:noFill/>
            <a:miter lim="800000"/>
            <a:headEnd/>
            <a:tailEnd/>
          </a:ln>
          <a:effectLst/>
        </p:spPr>
        <p:txBody>
          <a:bodyPr vert="horz" wrap="square" lIns="45720" tIns="45720" rIns="45720" bIns="45720" numCol="1" anchor="t" anchorCtr="0" compatLnSpc="1">
            <a:prstTxWarp prst="textNoShape">
              <a:avLst/>
            </a:prstTxWarp>
          </a:bodyPr>
          <a:lstStyle>
            <a:lvl1pPr algn="l" rtl="0" eaLnBrk="1" fontAlgn="base" hangingPunct="1">
              <a:spcAft>
                <a:spcPct val="10000"/>
              </a:spcAft>
              <a:defRPr lang="en-US" sz="1600" noProof="0" dirty="0" smtClean="0">
                <a:solidFill>
                  <a:schemeClr val="tx1"/>
                </a:solidFill>
                <a:latin typeface="+mn-lt"/>
                <a:ea typeface="+mn-ea"/>
                <a:cs typeface="+mn-cs"/>
              </a:defRPr>
            </a:lvl1pPr>
          </a:lstStyle>
          <a:p>
            <a:pPr lvl="0"/>
            <a:r>
              <a:rPr lang="en-US" noProof="0" dirty="0" smtClean="0"/>
              <a:t>Click icon to add chart</a:t>
            </a:r>
          </a:p>
        </p:txBody>
      </p:sp>
      <p:sp>
        <p:nvSpPr>
          <p:cNvPr id="4" name="Text Placeholder 3"/>
          <p:cNvSpPr>
            <a:spLocks noGrp="1"/>
          </p:cNvSpPr>
          <p:nvPr>
            <p:ph type="body" sz="half" idx="2"/>
          </p:nvPr>
        </p:nvSpPr>
        <p:spPr>
          <a:xfrm>
            <a:off x="4679950" y="1360489"/>
            <a:ext cx="4022542" cy="4629150"/>
          </a:xfrm>
          <a:noFill/>
          <a:ln w="9525">
            <a:noFill/>
            <a:miter lim="800000"/>
            <a:headEnd/>
            <a:tailEnd/>
          </a:ln>
          <a:effectLst/>
        </p:spPr>
        <p:txBody>
          <a:bodyPr vert="horz" wrap="square" lIns="45720" tIns="45720" rIns="45720" bIns="45720" numCol="1" anchor="t" anchorCtr="0" compatLnSpc="1">
            <a:prstTxWarp prst="textNoShape">
              <a:avLst/>
            </a:prstTxWarp>
          </a:bodyPr>
          <a:lstStyle>
            <a:lvl1pPr algn="l" rtl="0" eaLnBrk="1" fontAlgn="base" hangingPunct="1">
              <a:spcAft>
                <a:spcPct val="10000"/>
              </a:spcAft>
              <a:defRPr lang="en-US" sz="1600" dirty="0" smtClean="0">
                <a:solidFill>
                  <a:schemeClr val="tx1"/>
                </a:solidFill>
                <a:latin typeface="+mn-lt"/>
                <a:ea typeface="+mn-ea"/>
                <a:cs typeface="+mn-cs"/>
              </a:defRPr>
            </a:lvl1pPr>
            <a:lvl2pPr algn="l" rtl="0" eaLnBrk="1" fontAlgn="base" hangingPunct="1">
              <a:spcAft>
                <a:spcPct val="10000"/>
              </a:spcAft>
              <a:defRPr lang="en-US" sz="1400" dirty="0" smtClean="0">
                <a:solidFill>
                  <a:schemeClr val="tx1"/>
                </a:solidFill>
                <a:latin typeface="+mn-lt"/>
                <a:ea typeface="+mn-ea"/>
                <a:cs typeface="+mn-cs"/>
              </a:defRPr>
            </a:lvl2pPr>
            <a:lvl3pPr algn="l" rtl="0" eaLnBrk="1" fontAlgn="base" hangingPunct="1">
              <a:spcAft>
                <a:spcPct val="10000"/>
              </a:spcAft>
              <a:defRPr lang="en-US" sz="1200" dirty="0" smtClean="0">
                <a:solidFill>
                  <a:schemeClr val="tx1"/>
                </a:solidFill>
                <a:latin typeface="+mn-lt"/>
                <a:ea typeface="+mn-ea"/>
                <a:cs typeface="+mn-cs"/>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1"/>
          <p:cNvSpPr>
            <a:spLocks noGrp="1"/>
          </p:cNvSpPr>
          <p:nvPr>
            <p:ph type="title"/>
          </p:nvPr>
        </p:nvSpPr>
        <p:spPr>
          <a:xfrm>
            <a:off x="482599" y="357188"/>
            <a:ext cx="8203565" cy="663574"/>
          </a:xfrm>
        </p:spPr>
        <p:txBody>
          <a:bodyPr/>
          <a:lstStyle/>
          <a:p>
            <a:r>
              <a:rPr lang="en-US" smtClean="0"/>
              <a:t>Click to edit Master title style</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nvGraphicFramePr>
        <p:xfrm>
          <a:off x="0" y="0"/>
          <a:ext cx="158750" cy="158750"/>
        </p:xfrm>
        <a:graphic>
          <a:graphicData uri="http://schemas.openxmlformats.org/presentationml/2006/ole">
            <p:oleObj spid="_x0000_s1248" name="think-cell Slide" r:id="rId16" imgW="0" imgH="0" progId="">
              <p:embed/>
            </p:oleObj>
          </a:graphicData>
        </a:graphic>
      </p:graphicFrame>
      <p:sp>
        <p:nvSpPr>
          <p:cNvPr id="1036" name="Rectangle 12"/>
          <p:cNvSpPr>
            <a:spLocks noGrp="1" noChangeArrowheads="1"/>
          </p:cNvSpPr>
          <p:nvPr>
            <p:ph type="body" idx="1"/>
            <p:custDataLst>
              <p:tags r:id="rId13"/>
            </p:custDataLst>
          </p:nvPr>
        </p:nvSpPr>
        <p:spPr bwMode="gray">
          <a:xfrm>
            <a:off x="482599" y="1263650"/>
            <a:ext cx="8221663" cy="4649788"/>
          </a:xfrm>
          <a:prstGeom prst="rect">
            <a:avLst/>
          </a:prstGeom>
          <a:noFill/>
          <a:ln w="9525">
            <a:noFill/>
            <a:miter lim="800000"/>
            <a:headEnd/>
            <a:tailEnd/>
          </a:ln>
          <a:effectLst/>
        </p:spPr>
        <p:txBody>
          <a:bodyPr vert="horz" wrap="square" lIns="45720" tIns="45720" rIns="4572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35" name="Rectangle 11"/>
          <p:cNvSpPr>
            <a:spLocks noGrp="1" noChangeArrowheads="1"/>
          </p:cNvSpPr>
          <p:nvPr>
            <p:ph type="title"/>
            <p:custDataLst>
              <p:tags r:id="rId14"/>
            </p:custDataLst>
          </p:nvPr>
        </p:nvSpPr>
        <p:spPr bwMode="gray">
          <a:xfrm>
            <a:off x="482600" y="357187"/>
            <a:ext cx="8221662" cy="663575"/>
          </a:xfrm>
          <a:prstGeom prst="rect">
            <a:avLst/>
          </a:prstGeom>
          <a:noFill/>
          <a:ln w="9525">
            <a:noFill/>
            <a:miter lim="800000"/>
            <a:headEnd/>
            <a:tailEnd/>
          </a:ln>
          <a:effectLst/>
        </p:spPr>
        <p:txBody>
          <a:bodyPr vert="horz" wrap="square" lIns="0" tIns="45720" rIns="0" bIns="45720" numCol="1" anchor="b" anchorCtr="0" compatLnSpc="1">
            <a:prstTxWarp prst="textNoShape">
              <a:avLst/>
            </a:prstTxWarp>
          </a:bodyPr>
          <a:lstStyle/>
          <a:p>
            <a:pPr lvl="0"/>
            <a:r>
              <a:rPr lang="en-US" smtClean="0"/>
              <a:t>Click to edit Master title style</a:t>
            </a:r>
            <a:endParaRPr lang="en-US" dirty="0" smtClean="0"/>
          </a:p>
        </p:txBody>
      </p:sp>
      <p:sp>
        <p:nvSpPr>
          <p:cNvPr id="1254" name="Text Box 230"/>
          <p:cNvSpPr txBox="1">
            <a:spLocks noChangeArrowheads="1"/>
          </p:cNvSpPr>
          <p:nvPr>
            <p:custDataLst>
              <p:tags r:id="rId15"/>
            </p:custDataLst>
          </p:nvPr>
        </p:nvSpPr>
        <p:spPr bwMode="gray">
          <a:xfrm>
            <a:off x="376238" y="6236375"/>
            <a:ext cx="3367088" cy="461665"/>
          </a:xfrm>
          <a:prstGeom prst="rect">
            <a:avLst/>
          </a:prstGeom>
          <a:noFill/>
          <a:ln w="9525">
            <a:noFill/>
            <a:miter lim="800000"/>
            <a:headEnd type="none" w="lg" len="lg"/>
            <a:tailEnd type="none" w="lg" len="lg"/>
          </a:ln>
          <a:effectLst/>
        </p:spPr>
        <p:txBody>
          <a:bodyPr>
            <a:spAutoFit/>
          </a:bodyPr>
          <a:lstStyle/>
          <a:p>
            <a:pPr marL="0" marR="0" indent="0" algn="l" defTabSz="914400" rtl="0" eaLnBrk="0" fontAlgn="base" latinLnBrk="0" hangingPunct="0">
              <a:lnSpc>
                <a:spcPct val="100000"/>
              </a:lnSpc>
              <a:spcBef>
                <a:spcPct val="0"/>
              </a:spcBef>
              <a:spcAft>
                <a:spcPct val="0"/>
              </a:spcAft>
              <a:buClrTx/>
              <a:buSzTx/>
              <a:buFontTx/>
              <a:buNone/>
              <a:tabLst/>
              <a:defRPr/>
            </a:pPr>
            <a:r>
              <a:rPr lang="en-US" sz="800" dirty="0" smtClean="0">
                <a:solidFill>
                  <a:srgbClr val="808080"/>
                </a:solidFill>
                <a:latin typeface="Arial" pitchFamily="26" charset="0"/>
                <a:ea typeface="Arial Unicode MS" pitchFamily="26" charset="0"/>
                <a:cs typeface="Arial Unicode MS" pitchFamily="26" charset="0"/>
              </a:rPr>
              <a:t>Engagement: 223993710</a:t>
            </a:r>
          </a:p>
          <a:p>
            <a:pPr marL="0" eaLnBrk="0" hangingPunct="0">
              <a:spcBef>
                <a:spcPct val="0"/>
              </a:spcBef>
            </a:pPr>
            <a:r>
              <a:rPr lang="en-US" sz="800" dirty="0" smtClean="0">
                <a:solidFill>
                  <a:srgbClr val="808080"/>
                </a:solidFill>
              </a:rPr>
              <a:t>© 2011 </a:t>
            </a:r>
            <a:r>
              <a:rPr lang="en-US" sz="800" dirty="0">
                <a:solidFill>
                  <a:srgbClr val="808080"/>
                </a:solidFill>
              </a:rPr>
              <a:t>Gartner, Inc. and/or its affiliates. All rights reserved. </a:t>
            </a:r>
          </a:p>
          <a:p>
            <a:pPr marL="0" eaLnBrk="0" hangingPunct="0">
              <a:spcBef>
                <a:spcPct val="0"/>
              </a:spcBef>
            </a:pPr>
            <a:r>
              <a:rPr lang="en-US" sz="800" dirty="0">
                <a:solidFill>
                  <a:srgbClr val="808080"/>
                </a:solidFill>
              </a:rPr>
              <a:t>Gartner is a registered trademark of Gartner, Inc. or its affiliates.</a:t>
            </a:r>
          </a:p>
        </p:txBody>
      </p:sp>
      <p:sp>
        <p:nvSpPr>
          <p:cNvPr id="9" name="Text Box 21"/>
          <p:cNvSpPr txBox="1">
            <a:spLocks noChangeArrowheads="1"/>
          </p:cNvSpPr>
          <p:nvPr/>
        </p:nvSpPr>
        <p:spPr bwMode="auto">
          <a:xfrm>
            <a:off x="3714750" y="6245503"/>
            <a:ext cx="1746250" cy="390525"/>
          </a:xfrm>
          <a:prstGeom prst="rect">
            <a:avLst/>
          </a:prstGeom>
          <a:noFill/>
          <a:ln w="9525">
            <a:noFill/>
            <a:miter lim="800000"/>
            <a:headEnd/>
            <a:tailEnd/>
          </a:ln>
          <a:effectLst/>
        </p:spPr>
        <p:txBody>
          <a:bodyPr lIns="0" tIns="0" rIns="0" bIns="0" anchor="b"/>
          <a:lstStyle/>
          <a:p>
            <a:pPr algn="ctr">
              <a:spcBef>
                <a:spcPct val="0"/>
              </a:spcBef>
              <a:buClrTx/>
              <a:buSzTx/>
              <a:buFontTx/>
              <a:buNone/>
              <a:defRPr/>
            </a:pPr>
            <a:fld id="{0DCACFB8-26F6-42D6-BECD-8F4C7C90C586}" type="slidenum">
              <a:rPr lang="en-US" sz="800" kern="1200" smtClean="0">
                <a:solidFill>
                  <a:srgbClr val="808080"/>
                </a:solidFill>
                <a:latin typeface="Arial" charset="0"/>
                <a:ea typeface="Arial Unicode MS" pitchFamily="34" charset="-128"/>
                <a:cs typeface="Arial Unicode MS" pitchFamily="34" charset="-128"/>
              </a:rPr>
              <a:pPr algn="ctr">
                <a:spcBef>
                  <a:spcPct val="0"/>
                </a:spcBef>
                <a:buClrTx/>
                <a:buSzTx/>
                <a:buFontTx/>
                <a:buNone/>
                <a:defRPr/>
              </a:pPr>
              <a:t>‹#›</a:t>
            </a:fld>
            <a:endParaRPr lang="en-US" altLang="en-US" sz="800" kern="1200" dirty="0">
              <a:solidFill>
                <a:srgbClr val="808080"/>
              </a:solidFill>
              <a:latin typeface="Arial" charset="0"/>
              <a:ea typeface="Arial Unicode MS" pitchFamily="34" charset="-128"/>
              <a:cs typeface="Arial Unicode MS" pitchFamily="34" charset="-128"/>
            </a:endParaRPr>
          </a:p>
        </p:txBody>
      </p:sp>
      <p:cxnSp>
        <p:nvCxnSpPr>
          <p:cNvPr id="19" name="Straight Connector 18"/>
          <p:cNvCxnSpPr/>
          <p:nvPr/>
        </p:nvCxnSpPr>
        <p:spPr bwMode="auto">
          <a:xfrm>
            <a:off x="482600" y="1006475"/>
            <a:ext cx="8229600" cy="1588"/>
          </a:xfrm>
          <a:prstGeom prst="line">
            <a:avLst/>
          </a:prstGeom>
          <a:solidFill>
            <a:srgbClr val="00529B"/>
          </a:solidFill>
          <a:ln w="12700" cap="flat" cmpd="sng" algn="ctr">
            <a:solidFill>
              <a:srgbClr val="808080"/>
            </a:solidFill>
            <a:prstDash val="solid"/>
            <a:round/>
            <a:headEnd type="none" w="med" len="med"/>
            <a:tailEnd type="none" w="med" len="med"/>
          </a:ln>
          <a:effectLst/>
        </p:spPr>
      </p:cxnSp>
      <p:cxnSp>
        <p:nvCxnSpPr>
          <p:cNvPr id="12" name="Straight Connector 11"/>
          <p:cNvCxnSpPr/>
          <p:nvPr/>
        </p:nvCxnSpPr>
        <p:spPr bwMode="auto">
          <a:xfrm>
            <a:off x="482600" y="6074054"/>
            <a:ext cx="8229600" cy="1588"/>
          </a:xfrm>
          <a:prstGeom prst="line">
            <a:avLst/>
          </a:prstGeom>
          <a:solidFill>
            <a:srgbClr val="00529B"/>
          </a:solidFill>
          <a:ln w="12700" cap="flat" cmpd="sng" algn="ctr">
            <a:solidFill>
              <a:srgbClr val="808080"/>
            </a:solidFill>
            <a:prstDash val="solid"/>
            <a:round/>
            <a:headEnd type="none" w="med" len="med"/>
            <a:tailEnd type="none" w="med" len="med"/>
          </a:ln>
          <a:effectLst/>
        </p:spPr>
      </p:cxnSp>
      <p:pic>
        <p:nvPicPr>
          <p:cNvPr id="11" name="Picture 10" descr="Gartner_Lg_Blu.png"/>
          <p:cNvPicPr>
            <a:picLocks noChangeAspect="1"/>
          </p:cNvPicPr>
          <p:nvPr/>
        </p:nvPicPr>
        <p:blipFill>
          <a:blip r:embed="rId17" cstate="print"/>
          <a:srcRect t="28264" b="31285"/>
          <a:stretch>
            <a:fillRect/>
          </a:stretch>
        </p:blipFill>
        <p:spPr>
          <a:xfrm>
            <a:off x="7296912" y="6315075"/>
            <a:ext cx="1684020" cy="322263"/>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75" r:id="rId2"/>
    <p:sldLayoutId id="2147483652" r:id="rId3"/>
    <p:sldLayoutId id="2147483651" r:id="rId4"/>
    <p:sldLayoutId id="2147483653" r:id="rId5"/>
    <p:sldLayoutId id="2147483654" r:id="rId6"/>
    <p:sldLayoutId id="2147483673" r:id="rId7"/>
    <p:sldLayoutId id="2147483655" r:id="rId8"/>
    <p:sldLayoutId id="2147483656" r:id="rId9"/>
    <p:sldLayoutId id="2147483677" r:id="rId10"/>
  </p:sldLayoutIdLst>
  <p:timing>
    <p:tnLst>
      <p:par>
        <p:cTn id="1" dur="indefinite" restart="never" nodeType="tmRoot"/>
      </p:par>
    </p:tnLst>
  </p:timing>
  <p:hf sldNum="0" hdr="0" ftr="0" dt="0"/>
  <p:txStyles>
    <p:titleStyle>
      <a:lvl1pPr algn="l" rtl="0" eaLnBrk="1" fontAlgn="base" hangingPunct="1">
        <a:spcBef>
          <a:spcPct val="0"/>
        </a:spcBef>
        <a:spcAft>
          <a:spcPct val="0"/>
        </a:spcAft>
        <a:defRPr>
          <a:solidFill>
            <a:schemeClr val="accent1"/>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225425" indent="-225425" algn="l" rtl="0" eaLnBrk="1" fontAlgn="base" hangingPunct="1">
        <a:spcBef>
          <a:spcPct val="30000"/>
        </a:spcBef>
        <a:spcAft>
          <a:spcPct val="10000"/>
        </a:spcAft>
        <a:buClr>
          <a:schemeClr val="accent1"/>
        </a:buClr>
        <a:buFont typeface="Arial" charset="0"/>
        <a:buChar char="■"/>
        <a:defRPr sz="1600">
          <a:solidFill>
            <a:schemeClr val="tx1"/>
          </a:solidFill>
          <a:latin typeface="+mn-lt"/>
          <a:ea typeface="+mn-ea"/>
          <a:cs typeface="+mn-cs"/>
        </a:defRPr>
      </a:lvl1pPr>
      <a:lvl2pPr marL="463550" indent="-238125" algn="l" rtl="0" eaLnBrk="1" fontAlgn="base" hangingPunct="1">
        <a:spcBef>
          <a:spcPts val="432"/>
        </a:spcBef>
        <a:spcAft>
          <a:spcPct val="10000"/>
        </a:spcAft>
        <a:buClr>
          <a:schemeClr val="tx1"/>
        </a:buClr>
        <a:buFont typeface="Arial" charset="0"/>
        <a:buChar char="–"/>
        <a:defRPr sz="1400">
          <a:solidFill>
            <a:schemeClr val="tx1"/>
          </a:solidFill>
          <a:latin typeface="+mn-lt"/>
          <a:ea typeface="+mn-ea"/>
          <a:cs typeface="+mn-cs"/>
        </a:defRPr>
      </a:lvl2pPr>
      <a:lvl3pPr marL="628650" indent="-165100"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3pPr>
      <a:lvl4pPr marL="862013" indent="-173038" algn="l" rtl="0" eaLnBrk="1" fontAlgn="base" hangingPunct="1">
        <a:spcBef>
          <a:spcPct val="30000"/>
        </a:spcBef>
        <a:spcAft>
          <a:spcPct val="10000"/>
        </a:spcAft>
        <a:buClr>
          <a:schemeClr val="tx1"/>
        </a:buClr>
        <a:buFont typeface="Arial" charset="0"/>
        <a:buChar char="-"/>
        <a:defRPr sz="1200">
          <a:solidFill>
            <a:schemeClr val="tx1"/>
          </a:solidFill>
          <a:latin typeface="+mn-lt"/>
          <a:ea typeface="+mn-ea"/>
          <a:cs typeface="+mn-cs"/>
        </a:defRPr>
      </a:lvl4pPr>
      <a:lvl5pPr marL="108426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2.jpeg"/><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audio" Target="../media/audio1.wav"/><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9.wmf"/><Relationship Id="rId2" Type="http://schemas.openxmlformats.org/officeDocument/2006/relationships/slideLayout" Target="../slideLayouts/slideLayout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8.wmf"/><Relationship Id="rId4" Type="http://schemas.openxmlformats.org/officeDocument/2006/relationships/image" Target="../media/image7.wmf"/></Relationships>
</file>

<file path=ppt/slides/_rels/slide1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8.xml"/><Relationship Id="rId1" Type="http://schemas.openxmlformats.org/officeDocument/2006/relationships/slideLayout" Target="../slideLayouts/slideLayout8.xml"/><Relationship Id="rId4" Type="http://schemas.openxmlformats.org/officeDocument/2006/relationships/image" Target="../media/image12.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13.gif"/><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0642" name="Rectangle 2" hidden="1"/>
          <p:cNvGraphicFramePr>
            <a:graphicFrameLocks/>
          </p:cNvGraphicFramePr>
          <p:nvPr/>
        </p:nvGraphicFramePr>
        <p:xfrm>
          <a:off x="0" y="0"/>
          <a:ext cx="158750" cy="158750"/>
        </p:xfrm>
        <a:graphic>
          <a:graphicData uri="http://schemas.openxmlformats.org/presentationml/2006/ole">
            <p:oleObj spid="_x0000_s240642" name="think-cell Slide" r:id="rId6" imgW="0" imgH="0" progId="">
              <p:embed/>
            </p:oleObj>
          </a:graphicData>
        </a:graphic>
      </p:graphicFrame>
      <p:sp>
        <p:nvSpPr>
          <p:cNvPr id="240655" name="Rectangle 15"/>
          <p:cNvSpPr>
            <a:spLocks noGrp="1" noChangeArrowheads="1"/>
          </p:cNvSpPr>
          <p:nvPr>
            <p:ph type="ctrTitle"/>
          </p:nvPr>
        </p:nvSpPr>
        <p:spPr/>
        <p:txBody>
          <a:bodyPr/>
          <a:lstStyle/>
          <a:p>
            <a:r>
              <a:rPr lang="en-US" dirty="0" smtClean="0"/>
              <a:t>Washington State Board for Community &amp; Technical Colleges (SBCTC)</a:t>
            </a:r>
            <a:endParaRPr lang="en-US" dirty="0"/>
          </a:p>
        </p:txBody>
      </p:sp>
      <p:sp>
        <p:nvSpPr>
          <p:cNvPr id="240656" name="Rectangle 16"/>
          <p:cNvSpPr>
            <a:spLocks noGrp="1" noChangeArrowheads="1"/>
          </p:cNvSpPr>
          <p:nvPr>
            <p:ph type="subTitle" idx="1"/>
          </p:nvPr>
        </p:nvSpPr>
        <p:spPr/>
        <p:txBody>
          <a:bodyPr/>
          <a:lstStyle/>
          <a:p>
            <a:r>
              <a:rPr lang="en-US" sz="1800" dirty="0" smtClean="0"/>
              <a:t>ERP Overview</a:t>
            </a:r>
            <a:endParaRPr lang="en-US" sz="1800" dirty="0"/>
          </a:p>
        </p:txBody>
      </p:sp>
      <p:sp>
        <p:nvSpPr>
          <p:cNvPr id="240646" name="Text Box 62"/>
          <p:cNvSpPr txBox="1">
            <a:spLocks noChangeArrowheads="1"/>
          </p:cNvSpPr>
          <p:nvPr>
            <p:custDataLst>
              <p:tags r:id="rId2"/>
            </p:custDataLst>
          </p:nvPr>
        </p:nvSpPr>
        <p:spPr bwMode="auto">
          <a:xfrm>
            <a:off x="465138" y="4348509"/>
            <a:ext cx="2646772" cy="276999"/>
          </a:xfrm>
          <a:prstGeom prst="rect">
            <a:avLst/>
          </a:prstGeom>
          <a:noFill/>
          <a:ln w="12700">
            <a:noFill/>
            <a:miter lim="800000"/>
            <a:headEnd type="none" w="lg" len="lg"/>
            <a:tailEnd type="none" w="lg" len="lg"/>
          </a:ln>
        </p:spPr>
        <p:txBody>
          <a:bodyPr wrap="square">
            <a:spAutoFit/>
          </a:bodyPr>
          <a:lstStyle/>
          <a:p>
            <a:pPr>
              <a:spcBef>
                <a:spcPct val="0"/>
              </a:spcBef>
            </a:pPr>
            <a:r>
              <a:rPr lang="en-US" sz="1200" dirty="0">
                <a:solidFill>
                  <a:srgbClr val="808080"/>
                </a:solidFill>
              </a:rPr>
              <a:t>Prepared </a:t>
            </a:r>
            <a:r>
              <a:rPr lang="en-US" sz="1200" dirty="0" smtClean="0">
                <a:solidFill>
                  <a:srgbClr val="808080"/>
                </a:solidFill>
              </a:rPr>
              <a:t>for: WACTC Academy</a:t>
            </a:r>
            <a:endParaRPr lang="en-US" sz="1200" dirty="0">
              <a:solidFill>
                <a:srgbClr val="808080"/>
              </a:solidFill>
            </a:endParaRPr>
          </a:p>
        </p:txBody>
      </p:sp>
      <p:sp>
        <p:nvSpPr>
          <p:cNvPr id="14" name="Text Box 16"/>
          <p:cNvSpPr txBox="1">
            <a:spLocks noChangeArrowheads="1"/>
          </p:cNvSpPr>
          <p:nvPr>
            <p:custDataLst>
              <p:tags r:id="rId3"/>
            </p:custDataLst>
          </p:nvPr>
        </p:nvSpPr>
        <p:spPr bwMode="auto">
          <a:xfrm>
            <a:off x="5697538" y="4792246"/>
            <a:ext cx="2936875" cy="307777"/>
          </a:xfrm>
          <a:prstGeom prst="rect">
            <a:avLst/>
          </a:prstGeom>
          <a:noFill/>
          <a:ln w="12700">
            <a:noFill/>
            <a:miter lim="800000"/>
            <a:headEnd type="none" w="lg" len="lg"/>
            <a:tailEnd type="none" w="lg" len="lg"/>
          </a:ln>
        </p:spPr>
        <p:txBody>
          <a:bodyPr>
            <a:spAutoFit/>
          </a:bodyPr>
          <a:lstStyle/>
          <a:p>
            <a:pPr algn="r" defTabSz="1081088">
              <a:spcBef>
                <a:spcPct val="20000"/>
              </a:spcBef>
              <a:buClr>
                <a:schemeClr val="accent1"/>
              </a:buClr>
              <a:buSzPct val="80000"/>
            </a:pPr>
            <a:r>
              <a:rPr lang="en-US" altLang="en-US" sz="1400" dirty="0" smtClean="0">
                <a:solidFill>
                  <a:srgbClr val="808080"/>
                </a:solidFill>
              </a:rPr>
              <a:t>April 29, 2011</a:t>
            </a:r>
            <a:endParaRPr lang="en-US" altLang="en-US" sz="1400" dirty="0">
              <a:solidFill>
                <a:srgbClr val="808080"/>
              </a:solidFill>
            </a:endParaRPr>
          </a:p>
        </p:txBody>
      </p:sp>
      <p:pic>
        <p:nvPicPr>
          <p:cNvPr id="7" name="Picture 6" descr="C:\Documents and Settings\djacinto\Local Settings\Temporary Internet Files\Content.Word\LOGO -Washington Community and Technical Collleges.jpg"/>
          <p:cNvPicPr/>
          <p:nvPr/>
        </p:nvPicPr>
        <p:blipFill>
          <a:blip r:embed="rId7" cstate="print"/>
          <a:srcRect/>
          <a:stretch>
            <a:fillRect/>
          </a:stretch>
        </p:blipFill>
        <p:spPr bwMode="auto">
          <a:xfrm>
            <a:off x="649224" y="4690872"/>
            <a:ext cx="2286000" cy="10998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sz="quarter"/>
          </p:nvPr>
        </p:nvSpPr>
        <p:spPr/>
        <p:txBody>
          <a:bodyPr/>
          <a:lstStyle/>
          <a:p>
            <a:r>
              <a:rPr lang="en-US" dirty="0" smtClean="0"/>
              <a:t>What are the benefits we can expect?</a:t>
            </a:r>
            <a:endParaRPr 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What benefits we can expect?</a:t>
            </a:r>
            <a:endParaRPr lang="en-US" dirty="0"/>
          </a:p>
        </p:txBody>
      </p:sp>
      <p:sp>
        <p:nvSpPr>
          <p:cNvPr id="3" name="Content Placeholder 2"/>
          <p:cNvSpPr>
            <a:spLocks noGrp="1"/>
          </p:cNvSpPr>
          <p:nvPr>
            <p:ph idx="1"/>
          </p:nvPr>
        </p:nvSpPr>
        <p:spPr>
          <a:xfrm>
            <a:off x="518694" y="1167398"/>
            <a:ext cx="8212138" cy="4649788"/>
          </a:xfrm>
        </p:spPr>
        <p:txBody>
          <a:bodyPr/>
          <a:lstStyle/>
          <a:p>
            <a:pPr>
              <a:lnSpc>
                <a:spcPct val="150000"/>
              </a:lnSpc>
              <a:buClr>
                <a:schemeClr val="tx2"/>
              </a:buClr>
              <a:buSzPct val="79000"/>
            </a:pPr>
            <a:r>
              <a:rPr lang="en-US" dirty="0" smtClean="0"/>
              <a:t>Improved level of service to students</a:t>
            </a:r>
          </a:p>
          <a:p>
            <a:pPr>
              <a:lnSpc>
                <a:spcPct val="150000"/>
              </a:lnSpc>
              <a:buClr>
                <a:schemeClr val="tx2"/>
              </a:buClr>
              <a:buSzPct val="79000"/>
            </a:pPr>
            <a:r>
              <a:rPr lang="en-US" dirty="0" smtClean="0"/>
              <a:t>Enhanced tools for faculty and staff at colleges and board level</a:t>
            </a:r>
          </a:p>
          <a:p>
            <a:pPr>
              <a:lnSpc>
                <a:spcPct val="150000"/>
              </a:lnSpc>
              <a:buClr>
                <a:schemeClr val="tx2"/>
              </a:buClr>
              <a:buSzPct val="79000"/>
            </a:pPr>
            <a:r>
              <a:rPr lang="en-US" dirty="0" smtClean="0"/>
              <a:t>Common, simplified processes</a:t>
            </a:r>
          </a:p>
          <a:p>
            <a:pPr>
              <a:lnSpc>
                <a:spcPct val="150000"/>
              </a:lnSpc>
              <a:buClr>
                <a:schemeClr val="tx2"/>
              </a:buClr>
              <a:buSzPct val="79000"/>
            </a:pPr>
            <a:r>
              <a:rPr lang="en-US" dirty="0" smtClean="0"/>
              <a:t>Consistency and integrity of data</a:t>
            </a:r>
          </a:p>
          <a:p>
            <a:pPr>
              <a:lnSpc>
                <a:spcPct val="150000"/>
              </a:lnSpc>
              <a:buClr>
                <a:schemeClr val="tx2"/>
              </a:buClr>
              <a:buSzPct val="79000"/>
            </a:pPr>
            <a:r>
              <a:rPr lang="en-US" dirty="0" smtClean="0"/>
              <a:t>Availability </a:t>
            </a:r>
            <a:r>
              <a:rPr lang="en-US" dirty="0"/>
              <a:t>of </a:t>
            </a:r>
            <a:r>
              <a:rPr lang="en-US" dirty="0" smtClean="0"/>
              <a:t>Information and enhanced </a:t>
            </a:r>
            <a:r>
              <a:rPr lang="en-US" dirty="0"/>
              <a:t>r</a:t>
            </a:r>
            <a:r>
              <a:rPr lang="en-US" dirty="0" smtClean="0"/>
              <a:t>eporting </a:t>
            </a:r>
            <a:r>
              <a:rPr lang="en-US" dirty="0"/>
              <a:t>c</a:t>
            </a:r>
            <a:r>
              <a:rPr lang="en-US" dirty="0" smtClean="0"/>
              <a:t>apabilities</a:t>
            </a:r>
          </a:p>
          <a:p>
            <a:pPr>
              <a:lnSpc>
                <a:spcPct val="150000"/>
              </a:lnSpc>
              <a:buClr>
                <a:schemeClr val="tx2"/>
              </a:buClr>
              <a:buSzPct val="79000"/>
            </a:pPr>
            <a:r>
              <a:rPr lang="en-US" dirty="0"/>
              <a:t>Foundation </a:t>
            </a:r>
            <a:r>
              <a:rPr lang="en-US" dirty="0" smtClean="0"/>
              <a:t>for future growth and evolution </a:t>
            </a:r>
          </a:p>
          <a:p>
            <a:pPr>
              <a:lnSpc>
                <a:spcPct val="150000"/>
              </a:lnSpc>
              <a:buClr>
                <a:schemeClr val="tx2"/>
              </a:buClr>
              <a:buSzPct val="79000"/>
            </a:pPr>
            <a:r>
              <a:rPr lang="en-US" dirty="0" smtClean="0"/>
              <a:t>Integration with other applications </a:t>
            </a:r>
            <a:endParaRPr lang="en-US" dirty="0"/>
          </a:p>
          <a:p>
            <a:pPr>
              <a:lnSpc>
                <a:spcPct val="150000"/>
              </a:lnSpc>
              <a:buClr>
                <a:schemeClr val="tx2"/>
              </a:buClr>
              <a:buSzPct val="79000"/>
            </a:pPr>
            <a:r>
              <a:rPr lang="en-US" dirty="0" smtClean="0"/>
              <a:t>Measurement </a:t>
            </a:r>
            <a:r>
              <a:rPr lang="en-US" dirty="0"/>
              <a:t>of </a:t>
            </a:r>
            <a:r>
              <a:rPr lang="en-US" dirty="0" smtClean="0"/>
              <a:t>activity </a:t>
            </a:r>
            <a:r>
              <a:rPr lang="en-US" dirty="0"/>
              <a:t>and </a:t>
            </a:r>
            <a:r>
              <a:rPr lang="en-US" dirty="0" smtClean="0"/>
              <a:t>project performance</a:t>
            </a:r>
            <a:endParaRPr lang="en-US" dirty="0"/>
          </a:p>
          <a:p>
            <a:pPr>
              <a:lnSpc>
                <a:spcPct val="150000"/>
              </a:lnSpc>
              <a:buClr>
                <a:schemeClr val="tx2"/>
              </a:buClr>
              <a:buSzPct val="79000"/>
            </a:pPr>
            <a:r>
              <a:rPr lang="en-US" dirty="0" smtClean="0"/>
              <a:t>Attraction </a:t>
            </a:r>
            <a:r>
              <a:rPr lang="en-US" dirty="0"/>
              <a:t>and </a:t>
            </a:r>
            <a:r>
              <a:rPr lang="en-US" dirty="0" smtClean="0"/>
              <a:t>retention </a:t>
            </a:r>
            <a:r>
              <a:rPr lang="en-US" dirty="0"/>
              <a:t>of </a:t>
            </a:r>
            <a:r>
              <a:rPr lang="en-US" dirty="0" smtClean="0"/>
              <a:t>employees</a:t>
            </a:r>
            <a:endParaRPr lang="en-US" dirty="0"/>
          </a:p>
          <a:p>
            <a:pPr>
              <a:lnSpc>
                <a:spcPct val="150000"/>
              </a:lnSpc>
              <a:buClr>
                <a:schemeClr val="tx2"/>
              </a:buClr>
              <a:buSzPct val="79000"/>
            </a:pPr>
            <a:r>
              <a:rPr lang="en-US" dirty="0" smtClean="0"/>
              <a:t>Lower application </a:t>
            </a:r>
            <a:r>
              <a:rPr lang="en-US" dirty="0"/>
              <a:t>m</a:t>
            </a:r>
            <a:r>
              <a:rPr lang="en-US" dirty="0" smtClean="0"/>
              <a:t>aintenance </a:t>
            </a:r>
            <a:r>
              <a:rPr lang="en-US" dirty="0"/>
              <a:t>c</a:t>
            </a:r>
            <a:r>
              <a:rPr lang="en-US" dirty="0" smtClean="0"/>
              <a:t>osts</a:t>
            </a:r>
          </a:p>
          <a:p>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sz="quarter"/>
          </p:nvPr>
        </p:nvSpPr>
        <p:spPr/>
        <p:txBody>
          <a:bodyPr/>
          <a:lstStyle/>
          <a:p>
            <a:pPr lvl="0"/>
            <a:r>
              <a:rPr lang="en-US" dirty="0" smtClean="0"/>
              <a:t>What can colleges expect?</a:t>
            </a:r>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can colleges expect?</a:t>
            </a:r>
            <a:endParaRPr lang="en-US" dirty="0"/>
          </a:p>
        </p:txBody>
      </p:sp>
      <p:graphicFrame>
        <p:nvGraphicFramePr>
          <p:cNvPr id="8" name="Diagram 7"/>
          <p:cNvGraphicFramePr/>
          <p:nvPr/>
        </p:nvGraphicFramePr>
        <p:xfrm>
          <a:off x="529389" y="1360906"/>
          <a:ext cx="7808495" cy="446237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8578" name="Rectangle 2"/>
          <p:cNvSpPr>
            <a:spLocks noGrp="1" noChangeArrowheads="1"/>
          </p:cNvSpPr>
          <p:nvPr>
            <p:ph type="title"/>
          </p:nvPr>
        </p:nvSpPr>
        <p:spPr/>
        <p:txBody>
          <a:bodyPr/>
          <a:lstStyle/>
          <a:p>
            <a:r>
              <a:rPr lang="en-US" sz="2000" dirty="0"/>
              <a:t/>
            </a:r>
            <a:br>
              <a:rPr lang="en-US" sz="2000" dirty="0"/>
            </a:br>
            <a:r>
              <a:rPr lang="en-US" sz="2000" b="0" dirty="0" smtClean="0"/>
              <a:t>What can colleges expect ?</a:t>
            </a:r>
            <a:endParaRPr lang="en-US" sz="2000" b="0" dirty="0"/>
          </a:p>
        </p:txBody>
      </p:sp>
      <p:sp>
        <p:nvSpPr>
          <p:cNvPr id="5" name="Footer Placeholder 1"/>
          <p:cNvSpPr txBox="1">
            <a:spLocks/>
          </p:cNvSpPr>
          <p:nvPr/>
        </p:nvSpPr>
        <p:spPr>
          <a:xfrm>
            <a:off x="4570413" y="6910388"/>
            <a:ext cx="1052512" cy="176212"/>
          </a:xfrm>
          <a:prstGeom prst="rect">
            <a:avLst/>
          </a:prstGeom>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2800" b="0" i="0" u="none" strike="noStrike" kern="1200" cap="none" spc="0" normalizeH="0" baseline="0" noProof="0" smtClean="0">
                <a:ln>
                  <a:noFill/>
                </a:ln>
                <a:solidFill>
                  <a:schemeClr val="tx1"/>
                </a:solidFill>
                <a:effectLst/>
                <a:uLnTx/>
                <a:uFillTx/>
                <a:latin typeface="Arial" charset="0"/>
                <a:ea typeface="Arial Unicode MS" pitchFamily="34" charset="-128"/>
                <a:cs typeface="Arial Unicode MS" pitchFamily="34" charset="-128"/>
              </a:rPr>
              <a:t> Page </a:t>
            </a:r>
            <a:fld id="{26AF3F59-5B54-45FC-BAA0-666C67322D13}" type="slidenum">
              <a:rPr kumimoji="0" lang="en-US" sz="2800" b="0" i="0" u="none" strike="noStrike" kern="1200" cap="none" spc="0" normalizeH="0" baseline="0" noProof="0" smtClean="0">
                <a:ln>
                  <a:noFill/>
                </a:ln>
                <a:solidFill>
                  <a:schemeClr val="tx1"/>
                </a:solidFill>
                <a:effectLst/>
                <a:uLnTx/>
                <a:uFillTx/>
                <a:latin typeface="Arial" charset="0"/>
                <a:ea typeface="Arial Unicode MS" pitchFamily="34" charset="-128"/>
                <a:cs typeface="Arial Unicode MS" pitchFamily="34" charset="-128"/>
              </a:rPr>
              <a:pPr marL="0" marR="0" lvl="0" indent="0" algn="l" defTabSz="914400" rtl="0" eaLnBrk="1" fontAlgn="base" latinLnBrk="0" hangingPunct="1">
                <a:lnSpc>
                  <a:spcPct val="100000"/>
                </a:lnSpc>
                <a:spcBef>
                  <a:spcPct val="50000"/>
                </a:spcBef>
                <a:spcAft>
                  <a:spcPct val="0"/>
                </a:spcAft>
                <a:buClrTx/>
                <a:buSzTx/>
                <a:buFontTx/>
                <a:buNone/>
                <a:tabLst/>
                <a:defRPr/>
              </a:pPr>
              <a:t>13</a:t>
            </a:fld>
            <a:endParaRPr kumimoji="0" lang="en-US" sz="2800" b="0" i="0" u="none" strike="noStrike" kern="1200" cap="none" spc="0" normalizeH="0" baseline="0" noProof="0">
              <a:ln>
                <a:noFill/>
              </a:ln>
              <a:solidFill>
                <a:schemeClr val="tx1"/>
              </a:solidFill>
              <a:effectLst/>
              <a:uLnTx/>
              <a:uFillTx/>
              <a:latin typeface="Arial" charset="0"/>
              <a:ea typeface="Arial Unicode MS" pitchFamily="34" charset="-128"/>
              <a:cs typeface="Arial Unicode MS" pitchFamily="34" charset="-128"/>
            </a:endParaRPr>
          </a:p>
        </p:txBody>
      </p:sp>
      <p:sp>
        <p:nvSpPr>
          <p:cNvPr id="8" name="Text Box 5"/>
          <p:cNvSpPr txBox="1">
            <a:spLocks noChangeArrowheads="1"/>
          </p:cNvSpPr>
          <p:nvPr/>
        </p:nvSpPr>
        <p:spPr bwMode="auto">
          <a:xfrm>
            <a:off x="339725" y="1325563"/>
            <a:ext cx="0" cy="244475"/>
          </a:xfrm>
          <a:prstGeom prst="rect">
            <a:avLst/>
          </a:prstGeom>
          <a:noFill/>
          <a:ln w="9525">
            <a:noFill/>
            <a:miter lim="800000"/>
            <a:headEnd/>
            <a:tailEnd/>
          </a:ln>
          <a:effectLst/>
        </p:spPr>
        <p:txBody>
          <a:bodyPr wrap="none" lIns="0" tIns="0" rIns="0" bIns="0">
            <a:spAutoFit/>
          </a:bodyPr>
          <a:lstStyle/>
          <a:p>
            <a:endParaRPr lang="en-US"/>
          </a:p>
        </p:txBody>
      </p:sp>
      <p:pic>
        <p:nvPicPr>
          <p:cNvPr id="580610" name="Picture 2"/>
          <p:cNvPicPr>
            <a:picLocks noChangeAspect="1" noChangeArrowheads="1"/>
          </p:cNvPicPr>
          <p:nvPr/>
        </p:nvPicPr>
        <p:blipFill>
          <a:blip r:embed="rId3" cstate="print"/>
          <a:srcRect/>
          <a:stretch>
            <a:fillRect/>
          </a:stretch>
        </p:blipFill>
        <p:spPr bwMode="auto">
          <a:xfrm>
            <a:off x="772947" y="1149880"/>
            <a:ext cx="7348370" cy="4825493"/>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can colleges expect?</a:t>
            </a:r>
            <a:endParaRPr lang="en-US" dirty="0"/>
          </a:p>
        </p:txBody>
      </p:sp>
      <p:sp>
        <p:nvSpPr>
          <p:cNvPr id="3" name="Content Placeholder 2"/>
          <p:cNvSpPr>
            <a:spLocks noGrp="1"/>
          </p:cNvSpPr>
          <p:nvPr>
            <p:ph idx="1"/>
          </p:nvPr>
        </p:nvSpPr>
        <p:spPr/>
        <p:txBody>
          <a:bodyPr/>
          <a:lstStyle/>
          <a:p>
            <a:r>
              <a:rPr lang="en-US" dirty="0"/>
              <a:t>A communication and coordination structure will be developed (similar to Lift and Shift) to ensure colleges have a direct communication link to the project.  A recommended structure will be included in the project charter.</a:t>
            </a:r>
          </a:p>
          <a:p>
            <a:r>
              <a:rPr lang="en-US" dirty="0" smtClean="0"/>
              <a:t>Varying degree of involvement of staff during the implementation depending on the desired level of commitment to the design and implementation of the solution</a:t>
            </a:r>
          </a:p>
          <a:p>
            <a:r>
              <a:rPr lang="en-US" dirty="0" smtClean="0"/>
              <a:t>Requirement to initiate and manage change to the business processes, roles and responsibilities, and, potentially organizational model</a:t>
            </a:r>
          </a:p>
          <a:p>
            <a:r>
              <a:rPr lang="en-US" dirty="0" smtClean="0"/>
              <a:t>Requirement to backfill positions where staff have been appointed to the implementation team</a:t>
            </a:r>
          </a:p>
          <a:p>
            <a:r>
              <a:rPr lang="en-US" dirty="0" smtClean="0"/>
              <a:t>Staff’s participation in testing and training effort</a:t>
            </a:r>
          </a:p>
          <a:p>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30"/>
          <p:cNvSpPr>
            <a:spLocks noGrp="1" noChangeArrowheads="1"/>
          </p:cNvSpPr>
          <p:nvPr>
            <p:ph type="title"/>
          </p:nvPr>
        </p:nvSpPr>
        <p:spPr/>
        <p:txBody>
          <a:bodyPr/>
          <a:lstStyle/>
          <a:p>
            <a:pPr eaLnBrk="1" hangingPunct="1"/>
            <a:r>
              <a:rPr lang="en-GB" dirty="0" smtClean="0"/>
              <a:t>A Focus on the Readiness Assessment Will Ensure SBCTC Is Prepared For The People Side Of An ERP Initiative</a:t>
            </a:r>
            <a:endParaRPr lang="en-US" dirty="0" smtClean="0"/>
          </a:p>
        </p:txBody>
      </p:sp>
      <p:sp>
        <p:nvSpPr>
          <p:cNvPr id="14339" name="Rectangle 2"/>
          <p:cNvSpPr>
            <a:spLocks noGrp="1" noChangeArrowheads="1"/>
          </p:cNvSpPr>
          <p:nvPr>
            <p:ph type="body" sz="half" idx="4294967295"/>
          </p:nvPr>
        </p:nvSpPr>
        <p:spPr>
          <a:xfrm>
            <a:off x="729581" y="1648327"/>
            <a:ext cx="4732756" cy="4126831"/>
          </a:xfrm>
        </p:spPr>
        <p:txBody>
          <a:bodyPr/>
          <a:lstStyle/>
          <a:p>
            <a:pPr marL="228600" indent="-228600" eaLnBrk="1" hangingPunct="1"/>
            <a:r>
              <a:rPr lang="en-US" dirty="0" smtClean="0"/>
              <a:t>Commit to common vision and business case</a:t>
            </a:r>
          </a:p>
          <a:p>
            <a:pPr marL="228600" indent="-228600" eaLnBrk="1" hangingPunct="1"/>
            <a:r>
              <a:rPr lang="en-US" dirty="0" smtClean="0"/>
              <a:t>Supplement team weaknesses with external hires or services</a:t>
            </a:r>
          </a:p>
          <a:p>
            <a:pPr marL="228600" indent="-228600" eaLnBrk="1" hangingPunct="1"/>
            <a:r>
              <a:rPr lang="en-US" dirty="0" smtClean="0"/>
              <a:t>Define and implement project governance structure</a:t>
            </a:r>
          </a:p>
          <a:p>
            <a:pPr marL="228600" indent="-228600" eaLnBrk="1" hangingPunct="1"/>
            <a:r>
              <a:rPr lang="en-US" dirty="0" smtClean="0"/>
              <a:t>Create Change Management Program</a:t>
            </a:r>
          </a:p>
          <a:p>
            <a:pPr marL="228600" indent="-228600" eaLnBrk="1" hangingPunct="1"/>
            <a:r>
              <a:rPr lang="en-US" dirty="0" smtClean="0"/>
              <a:t>Determine and execute resource backfill strategy</a:t>
            </a:r>
          </a:p>
          <a:p>
            <a:pPr marL="228600" indent="-228600" eaLnBrk="1" hangingPunct="1"/>
            <a:r>
              <a:rPr lang="en-US" dirty="0" smtClean="0"/>
              <a:t>Secure/build out team facilities</a:t>
            </a:r>
          </a:p>
          <a:p>
            <a:pPr marL="228600" indent="-228600" eaLnBrk="1" hangingPunct="1"/>
            <a:r>
              <a:rPr lang="en-US" dirty="0" smtClean="0"/>
              <a:t>Initiate data cleansing analysis</a:t>
            </a:r>
          </a:p>
          <a:p>
            <a:pPr marL="228600" indent="-228600" eaLnBrk="1" hangingPunct="1"/>
            <a:r>
              <a:rPr lang="en-US" dirty="0" smtClean="0"/>
              <a:t>Develop Enterprise Architecture Strategy</a:t>
            </a:r>
          </a:p>
          <a:p>
            <a:pPr marL="228600" indent="-228600" eaLnBrk="1" hangingPunct="1"/>
            <a:r>
              <a:rPr lang="en-US" dirty="0" smtClean="0"/>
              <a:t>Refine project budget</a:t>
            </a:r>
          </a:p>
          <a:p>
            <a:pPr marL="228600" indent="-228600" eaLnBrk="1" hangingPunct="1"/>
            <a:r>
              <a:rPr lang="en-US" dirty="0" smtClean="0"/>
              <a:t>Finalize solution implementation strategy and project plan</a:t>
            </a:r>
          </a:p>
        </p:txBody>
      </p:sp>
      <p:sp>
        <p:nvSpPr>
          <p:cNvPr id="14341" name="AutoShape 4"/>
          <p:cNvSpPr>
            <a:spLocks noChangeArrowheads="1"/>
          </p:cNvSpPr>
          <p:nvPr/>
        </p:nvSpPr>
        <p:spPr bwMode="blackWhite">
          <a:xfrm>
            <a:off x="726406" y="1076076"/>
            <a:ext cx="7948362" cy="468059"/>
          </a:xfrm>
          <a:prstGeom prst="flowChartAlternateProcess">
            <a:avLst/>
          </a:prstGeom>
          <a:solidFill>
            <a:schemeClr val="folHlink"/>
          </a:solidFill>
          <a:ln w="9525" algn="ctr">
            <a:noFill/>
            <a:miter lim="800000"/>
            <a:headEnd/>
            <a:tailEnd/>
          </a:ln>
        </p:spPr>
        <p:txBody>
          <a:bodyPr wrap="none" lIns="0" tIns="0" rIns="0" bIns="0" anchor="ctr"/>
          <a:lstStyle/>
          <a:p>
            <a:pPr algn="ctr">
              <a:buClrTx/>
              <a:buSzTx/>
              <a:buFontTx/>
              <a:buNone/>
            </a:pPr>
            <a:r>
              <a:rPr lang="en-US" sz="1800" b="1" dirty="0" smtClean="0">
                <a:solidFill>
                  <a:schemeClr val="bg1"/>
                </a:solidFill>
              </a:rPr>
              <a:t>Project Preparation Checklist</a:t>
            </a:r>
            <a:endParaRPr lang="en-US" sz="1800" b="1" dirty="0">
              <a:solidFill>
                <a:schemeClr val="bg1"/>
              </a:solidFill>
            </a:endParaRPr>
          </a:p>
        </p:txBody>
      </p:sp>
      <p:sp>
        <p:nvSpPr>
          <p:cNvPr id="14344" name="Text Box 9"/>
          <p:cNvSpPr txBox="1">
            <a:spLocks noChangeArrowheads="1"/>
          </p:cNvSpPr>
          <p:nvPr/>
        </p:nvSpPr>
        <p:spPr bwMode="blackGray">
          <a:xfrm>
            <a:off x="6343650" y="3792538"/>
            <a:ext cx="1284288" cy="274637"/>
          </a:xfrm>
          <a:prstGeom prst="rect">
            <a:avLst/>
          </a:prstGeom>
          <a:noFill/>
          <a:ln w="9525" algn="ctr">
            <a:noFill/>
            <a:miter lim="800000"/>
            <a:headEnd/>
            <a:tailEnd/>
          </a:ln>
        </p:spPr>
        <p:txBody>
          <a:bodyPr lIns="0" tIns="0" rIns="0" bIns="0">
            <a:spAutoFit/>
          </a:bodyPr>
          <a:lstStyle/>
          <a:p>
            <a:pPr algn="ctr">
              <a:buClrTx/>
              <a:buSzTx/>
              <a:buFontTx/>
              <a:buNone/>
            </a:pPr>
            <a:r>
              <a:rPr lang="en-US" sz="1800">
                <a:solidFill>
                  <a:schemeClr val="tx2"/>
                </a:solidFill>
              </a:rPr>
              <a:t>65-75%</a:t>
            </a:r>
          </a:p>
        </p:txBody>
      </p:sp>
      <p:sp>
        <p:nvSpPr>
          <p:cNvPr id="14345" name="Text Box 10"/>
          <p:cNvSpPr txBox="1">
            <a:spLocks noChangeArrowheads="1"/>
          </p:cNvSpPr>
          <p:nvPr/>
        </p:nvSpPr>
        <p:spPr bwMode="blackGray">
          <a:xfrm>
            <a:off x="6540500" y="2752725"/>
            <a:ext cx="1284288" cy="152400"/>
          </a:xfrm>
          <a:prstGeom prst="rect">
            <a:avLst/>
          </a:prstGeom>
          <a:noFill/>
          <a:ln w="9525" algn="ctr">
            <a:noFill/>
            <a:miter lim="800000"/>
            <a:headEnd/>
            <a:tailEnd/>
          </a:ln>
        </p:spPr>
        <p:txBody>
          <a:bodyPr lIns="0" tIns="0" rIns="0" bIns="0">
            <a:spAutoFit/>
          </a:bodyPr>
          <a:lstStyle/>
          <a:p>
            <a:pPr algn="ctr">
              <a:buClrTx/>
              <a:buSzTx/>
              <a:buFontTx/>
              <a:buNone/>
            </a:pPr>
            <a:r>
              <a:rPr lang="en-US" sz="1000"/>
              <a:t>5-10%</a:t>
            </a:r>
          </a:p>
        </p:txBody>
      </p:sp>
      <p:sp>
        <p:nvSpPr>
          <p:cNvPr id="14346" name="Text Box 11"/>
          <p:cNvSpPr txBox="1">
            <a:spLocks noChangeArrowheads="1"/>
          </p:cNvSpPr>
          <p:nvPr/>
        </p:nvSpPr>
        <p:spPr bwMode="blackGray">
          <a:xfrm>
            <a:off x="6889750" y="3278188"/>
            <a:ext cx="1284288" cy="153987"/>
          </a:xfrm>
          <a:prstGeom prst="rect">
            <a:avLst/>
          </a:prstGeom>
          <a:noFill/>
          <a:ln w="9525" algn="ctr">
            <a:noFill/>
            <a:miter lim="800000"/>
            <a:headEnd/>
            <a:tailEnd/>
          </a:ln>
        </p:spPr>
        <p:txBody>
          <a:bodyPr lIns="0" tIns="0" rIns="0" bIns="0">
            <a:spAutoFit/>
          </a:bodyPr>
          <a:lstStyle/>
          <a:p>
            <a:pPr algn="ctr">
              <a:buClrTx/>
              <a:buSzTx/>
              <a:buFontTx/>
              <a:buNone/>
            </a:pPr>
            <a:r>
              <a:rPr lang="en-US" sz="1000"/>
              <a:t>20-25%</a:t>
            </a:r>
          </a:p>
        </p:txBody>
      </p:sp>
      <p:sp>
        <p:nvSpPr>
          <p:cNvPr id="14348" name="Text Box 13"/>
          <p:cNvSpPr txBox="1">
            <a:spLocks noChangeArrowheads="1"/>
          </p:cNvSpPr>
          <p:nvPr/>
        </p:nvSpPr>
        <p:spPr bwMode="blackGray">
          <a:xfrm>
            <a:off x="5855787" y="1997242"/>
            <a:ext cx="2349750" cy="338554"/>
          </a:xfrm>
          <a:prstGeom prst="rect">
            <a:avLst/>
          </a:prstGeom>
          <a:noFill/>
          <a:ln w="9525" algn="ctr">
            <a:noFill/>
            <a:miter lim="800000"/>
            <a:headEnd/>
            <a:tailEnd/>
          </a:ln>
        </p:spPr>
        <p:txBody>
          <a:bodyPr wrap="square" lIns="0" tIns="0" rIns="0" bIns="0">
            <a:spAutoFit/>
          </a:bodyPr>
          <a:lstStyle/>
          <a:p>
            <a:pPr algn="ctr">
              <a:buClrTx/>
              <a:buSzTx/>
              <a:buFontTx/>
              <a:buNone/>
            </a:pPr>
            <a:r>
              <a:rPr lang="en-US" sz="1100" i="1" dirty="0">
                <a:solidFill>
                  <a:srgbClr val="969696"/>
                </a:solidFill>
              </a:rPr>
              <a:t>Typical breakdown of </a:t>
            </a:r>
            <a:r>
              <a:rPr lang="en-US" sz="1100" i="1" dirty="0" smtClean="0">
                <a:solidFill>
                  <a:srgbClr val="969696"/>
                </a:solidFill>
              </a:rPr>
              <a:t>investment for similarly scoped ERP Projects</a:t>
            </a:r>
            <a:endParaRPr lang="en-US" sz="1100" i="1" dirty="0">
              <a:solidFill>
                <a:srgbClr val="969696"/>
              </a:solidFill>
            </a:endParaRPr>
          </a:p>
        </p:txBody>
      </p:sp>
      <p:sp>
        <p:nvSpPr>
          <p:cNvPr id="14350" name="Freeform 16"/>
          <p:cNvSpPr>
            <a:spLocks/>
          </p:cNvSpPr>
          <p:nvPr/>
        </p:nvSpPr>
        <p:spPr bwMode="blackGray">
          <a:xfrm>
            <a:off x="6970713" y="2586038"/>
            <a:ext cx="515937" cy="887412"/>
          </a:xfrm>
          <a:custGeom>
            <a:avLst/>
            <a:gdLst>
              <a:gd name="T0" fmla="*/ 101 w 101"/>
              <a:gd name="T1" fmla="*/ 33 h 174"/>
              <a:gd name="T2" fmla="*/ 0 w 101"/>
              <a:gd name="T3" fmla="*/ 0 h 174"/>
              <a:gd name="T4" fmla="*/ 0 w 101"/>
              <a:gd name="T5" fmla="*/ 174 h 174"/>
              <a:gd name="T6" fmla="*/ 101 w 101"/>
              <a:gd name="T7" fmla="*/ 33 h 174"/>
              <a:gd name="T8" fmla="*/ 0 60000 65536"/>
              <a:gd name="T9" fmla="*/ 0 60000 65536"/>
              <a:gd name="T10" fmla="*/ 0 60000 65536"/>
              <a:gd name="T11" fmla="*/ 0 60000 65536"/>
              <a:gd name="T12" fmla="*/ 0 w 101"/>
              <a:gd name="T13" fmla="*/ 0 h 174"/>
              <a:gd name="T14" fmla="*/ 101 w 101"/>
              <a:gd name="T15" fmla="*/ 174 h 174"/>
            </a:gdLst>
            <a:ahLst/>
            <a:cxnLst>
              <a:cxn ang="T8">
                <a:pos x="T0" y="T1"/>
              </a:cxn>
              <a:cxn ang="T9">
                <a:pos x="T2" y="T3"/>
              </a:cxn>
              <a:cxn ang="T10">
                <a:pos x="T4" y="T5"/>
              </a:cxn>
              <a:cxn ang="T11">
                <a:pos x="T6" y="T7"/>
              </a:cxn>
            </a:cxnLst>
            <a:rect l="T12" t="T13" r="T14" b="T15"/>
            <a:pathLst>
              <a:path w="101" h="174">
                <a:moveTo>
                  <a:pt x="101" y="33"/>
                </a:moveTo>
                <a:cubicBezTo>
                  <a:pt x="72" y="11"/>
                  <a:pt x="36" y="0"/>
                  <a:pt x="0" y="0"/>
                </a:cubicBezTo>
                <a:lnTo>
                  <a:pt x="0" y="174"/>
                </a:lnTo>
                <a:lnTo>
                  <a:pt x="101" y="33"/>
                </a:lnTo>
                <a:close/>
              </a:path>
            </a:pathLst>
          </a:custGeom>
          <a:solidFill>
            <a:srgbClr val="00529B"/>
          </a:solidFill>
          <a:ln w="4763">
            <a:noFill/>
            <a:round/>
            <a:headEnd/>
            <a:tailEnd/>
          </a:ln>
        </p:spPr>
        <p:txBody>
          <a:bodyPr/>
          <a:lstStyle/>
          <a:p>
            <a:endParaRPr lang="en-US"/>
          </a:p>
        </p:txBody>
      </p:sp>
      <p:sp>
        <p:nvSpPr>
          <p:cNvPr id="14351" name="Freeform 17"/>
          <p:cNvSpPr>
            <a:spLocks/>
          </p:cNvSpPr>
          <p:nvPr/>
        </p:nvSpPr>
        <p:spPr bwMode="blackGray">
          <a:xfrm>
            <a:off x="6970713" y="2754313"/>
            <a:ext cx="889000" cy="995362"/>
          </a:xfrm>
          <a:custGeom>
            <a:avLst/>
            <a:gdLst>
              <a:gd name="T0" fmla="*/ 165 w 174"/>
              <a:gd name="T1" fmla="*/ 195 h 195"/>
              <a:gd name="T2" fmla="*/ 174 w 174"/>
              <a:gd name="T3" fmla="*/ 141 h 195"/>
              <a:gd name="T4" fmla="*/ 101 w 174"/>
              <a:gd name="T5" fmla="*/ 0 h 195"/>
              <a:gd name="T6" fmla="*/ 0 w 174"/>
              <a:gd name="T7" fmla="*/ 141 h 195"/>
              <a:gd name="T8" fmla="*/ 165 w 174"/>
              <a:gd name="T9" fmla="*/ 195 h 195"/>
              <a:gd name="T10" fmla="*/ 0 60000 65536"/>
              <a:gd name="T11" fmla="*/ 0 60000 65536"/>
              <a:gd name="T12" fmla="*/ 0 60000 65536"/>
              <a:gd name="T13" fmla="*/ 0 60000 65536"/>
              <a:gd name="T14" fmla="*/ 0 60000 65536"/>
              <a:gd name="T15" fmla="*/ 0 w 174"/>
              <a:gd name="T16" fmla="*/ 0 h 195"/>
              <a:gd name="T17" fmla="*/ 174 w 174"/>
              <a:gd name="T18" fmla="*/ 195 h 195"/>
            </a:gdLst>
            <a:ahLst/>
            <a:cxnLst>
              <a:cxn ang="T10">
                <a:pos x="T0" y="T1"/>
              </a:cxn>
              <a:cxn ang="T11">
                <a:pos x="T2" y="T3"/>
              </a:cxn>
              <a:cxn ang="T12">
                <a:pos x="T4" y="T5"/>
              </a:cxn>
              <a:cxn ang="T13">
                <a:pos x="T6" y="T7"/>
              </a:cxn>
              <a:cxn ang="T14">
                <a:pos x="T8" y="T9"/>
              </a:cxn>
            </a:cxnLst>
            <a:rect l="T15" t="T16" r="T17" b="T18"/>
            <a:pathLst>
              <a:path w="174" h="195">
                <a:moveTo>
                  <a:pt x="165" y="195"/>
                </a:moveTo>
                <a:cubicBezTo>
                  <a:pt x="171" y="177"/>
                  <a:pt x="174" y="159"/>
                  <a:pt x="174" y="141"/>
                </a:cubicBezTo>
                <a:cubicBezTo>
                  <a:pt x="174" y="85"/>
                  <a:pt x="147" y="32"/>
                  <a:pt x="101" y="0"/>
                </a:cubicBezTo>
                <a:lnTo>
                  <a:pt x="0" y="141"/>
                </a:lnTo>
                <a:lnTo>
                  <a:pt x="165" y="195"/>
                </a:lnTo>
                <a:close/>
              </a:path>
            </a:pathLst>
          </a:custGeom>
          <a:solidFill>
            <a:srgbClr val="E2A63A"/>
          </a:solidFill>
          <a:ln w="4763">
            <a:noFill/>
            <a:round/>
            <a:headEnd/>
            <a:tailEnd/>
          </a:ln>
        </p:spPr>
        <p:txBody>
          <a:bodyPr/>
          <a:lstStyle/>
          <a:p>
            <a:endParaRPr lang="en-US"/>
          </a:p>
        </p:txBody>
      </p:sp>
      <p:sp>
        <p:nvSpPr>
          <p:cNvPr id="14352" name="Freeform 18"/>
          <p:cNvSpPr>
            <a:spLocks/>
          </p:cNvSpPr>
          <p:nvPr/>
        </p:nvSpPr>
        <p:spPr bwMode="ltGray">
          <a:xfrm>
            <a:off x="6081713" y="2586038"/>
            <a:ext cx="1731962" cy="1776412"/>
          </a:xfrm>
          <a:custGeom>
            <a:avLst/>
            <a:gdLst>
              <a:gd name="T0" fmla="*/ 173 w 339"/>
              <a:gd name="T1" fmla="*/ 0 h 348"/>
              <a:gd name="T2" fmla="*/ 0 w 339"/>
              <a:gd name="T3" fmla="*/ 173 h 348"/>
              <a:gd name="T4" fmla="*/ 174 w 339"/>
              <a:gd name="T5" fmla="*/ 348 h 348"/>
              <a:gd name="T6" fmla="*/ 339 w 339"/>
              <a:gd name="T7" fmla="*/ 228 h 348"/>
              <a:gd name="T8" fmla="*/ 174 w 339"/>
              <a:gd name="T9" fmla="*/ 174 h 348"/>
              <a:gd name="T10" fmla="*/ 173 w 339"/>
              <a:gd name="T11" fmla="*/ 0 h 348"/>
              <a:gd name="T12" fmla="*/ 0 60000 65536"/>
              <a:gd name="T13" fmla="*/ 0 60000 65536"/>
              <a:gd name="T14" fmla="*/ 0 60000 65536"/>
              <a:gd name="T15" fmla="*/ 0 60000 65536"/>
              <a:gd name="T16" fmla="*/ 0 60000 65536"/>
              <a:gd name="T17" fmla="*/ 0 60000 65536"/>
              <a:gd name="T18" fmla="*/ 0 w 339"/>
              <a:gd name="T19" fmla="*/ 0 h 348"/>
              <a:gd name="T20" fmla="*/ 339 w 339"/>
              <a:gd name="T21" fmla="*/ 348 h 348"/>
            </a:gdLst>
            <a:ahLst/>
            <a:cxnLst>
              <a:cxn ang="T12">
                <a:pos x="T0" y="T1"/>
              </a:cxn>
              <a:cxn ang="T13">
                <a:pos x="T2" y="T3"/>
              </a:cxn>
              <a:cxn ang="T14">
                <a:pos x="T4" y="T5"/>
              </a:cxn>
              <a:cxn ang="T15">
                <a:pos x="T6" y="T7"/>
              </a:cxn>
              <a:cxn ang="T16">
                <a:pos x="T8" y="T9"/>
              </a:cxn>
              <a:cxn ang="T17">
                <a:pos x="T10" y="T11"/>
              </a:cxn>
            </a:cxnLst>
            <a:rect l="T18" t="T19" r="T20" b="T21"/>
            <a:pathLst>
              <a:path w="339" h="348">
                <a:moveTo>
                  <a:pt x="173" y="0"/>
                </a:moveTo>
                <a:cubicBezTo>
                  <a:pt x="77" y="0"/>
                  <a:pt x="0" y="77"/>
                  <a:pt x="0" y="173"/>
                </a:cubicBezTo>
                <a:cubicBezTo>
                  <a:pt x="0" y="270"/>
                  <a:pt x="77" y="348"/>
                  <a:pt x="174" y="348"/>
                </a:cubicBezTo>
                <a:cubicBezTo>
                  <a:pt x="249" y="347"/>
                  <a:pt x="315" y="299"/>
                  <a:pt x="339" y="228"/>
                </a:cubicBezTo>
                <a:lnTo>
                  <a:pt x="174" y="174"/>
                </a:lnTo>
                <a:lnTo>
                  <a:pt x="173" y="0"/>
                </a:lnTo>
                <a:close/>
              </a:path>
            </a:pathLst>
          </a:custGeom>
          <a:solidFill>
            <a:srgbClr val="B52525"/>
          </a:solidFill>
          <a:ln w="4763">
            <a:noFill/>
            <a:round/>
            <a:headEnd/>
            <a:tailEnd/>
          </a:ln>
        </p:spPr>
        <p:txBody>
          <a:bodyPr/>
          <a:lstStyle/>
          <a:p>
            <a:endParaRPr lang="en-US"/>
          </a:p>
        </p:txBody>
      </p:sp>
      <p:sp>
        <p:nvSpPr>
          <p:cNvPr id="14353" name="Rectangle 19"/>
          <p:cNvSpPr>
            <a:spLocks noChangeArrowheads="1"/>
          </p:cNvSpPr>
          <p:nvPr/>
        </p:nvSpPr>
        <p:spPr bwMode="ltGray">
          <a:xfrm>
            <a:off x="7512050" y="4472155"/>
            <a:ext cx="749300" cy="628650"/>
          </a:xfrm>
          <a:prstGeom prst="rect">
            <a:avLst/>
          </a:prstGeom>
          <a:noFill/>
          <a:ln w="4763">
            <a:solidFill>
              <a:srgbClr val="000000"/>
            </a:solidFill>
            <a:miter lim="800000"/>
            <a:headEnd/>
            <a:tailEnd/>
          </a:ln>
        </p:spPr>
        <p:txBody>
          <a:bodyPr/>
          <a:lstStyle/>
          <a:p>
            <a:endParaRPr lang="en-US"/>
          </a:p>
        </p:txBody>
      </p:sp>
      <p:sp>
        <p:nvSpPr>
          <p:cNvPr id="14354" name="Rectangle 20"/>
          <p:cNvSpPr>
            <a:spLocks noChangeArrowheads="1"/>
          </p:cNvSpPr>
          <p:nvPr/>
        </p:nvSpPr>
        <p:spPr bwMode="ltGray">
          <a:xfrm>
            <a:off x="7553325" y="4545180"/>
            <a:ext cx="80963" cy="80962"/>
          </a:xfrm>
          <a:prstGeom prst="rect">
            <a:avLst/>
          </a:prstGeom>
          <a:solidFill>
            <a:srgbClr val="00529B"/>
          </a:solidFill>
          <a:ln w="4763">
            <a:solidFill>
              <a:srgbClr val="000000"/>
            </a:solidFill>
            <a:miter lim="800000"/>
            <a:headEnd/>
            <a:tailEnd/>
          </a:ln>
        </p:spPr>
        <p:txBody>
          <a:bodyPr/>
          <a:lstStyle/>
          <a:p>
            <a:endParaRPr lang="en-US"/>
          </a:p>
        </p:txBody>
      </p:sp>
      <p:sp>
        <p:nvSpPr>
          <p:cNvPr id="14355" name="Rectangle 21"/>
          <p:cNvSpPr>
            <a:spLocks noChangeArrowheads="1"/>
          </p:cNvSpPr>
          <p:nvPr/>
        </p:nvSpPr>
        <p:spPr bwMode="ltGray">
          <a:xfrm>
            <a:off x="7675563" y="4499142"/>
            <a:ext cx="495300" cy="136525"/>
          </a:xfrm>
          <a:prstGeom prst="rect">
            <a:avLst/>
          </a:prstGeom>
          <a:noFill/>
          <a:ln w="9525">
            <a:noFill/>
            <a:miter lim="800000"/>
            <a:headEnd/>
            <a:tailEnd/>
          </a:ln>
        </p:spPr>
        <p:txBody>
          <a:bodyPr wrap="none" lIns="0" tIns="0" rIns="0" bIns="0">
            <a:spAutoFit/>
          </a:bodyPr>
          <a:lstStyle/>
          <a:p>
            <a:pPr defTabSz="865188">
              <a:buClrTx/>
              <a:buSzTx/>
              <a:buFontTx/>
              <a:buNone/>
            </a:pPr>
            <a:r>
              <a:rPr lang="en-US" sz="900">
                <a:solidFill>
                  <a:srgbClr val="000000"/>
                </a:solidFill>
                <a:latin typeface="Arial Unicode MS" pitchFamily="34" charset="-128"/>
              </a:rPr>
              <a:t>Hardware</a:t>
            </a:r>
            <a:endParaRPr lang="en-US" sz="2300"/>
          </a:p>
        </p:txBody>
      </p:sp>
      <p:sp>
        <p:nvSpPr>
          <p:cNvPr id="14356" name="Rectangle 22"/>
          <p:cNvSpPr>
            <a:spLocks noChangeArrowheads="1"/>
          </p:cNvSpPr>
          <p:nvPr/>
        </p:nvSpPr>
        <p:spPr bwMode="ltGray">
          <a:xfrm>
            <a:off x="7553325" y="4754730"/>
            <a:ext cx="80963" cy="80962"/>
          </a:xfrm>
          <a:prstGeom prst="rect">
            <a:avLst/>
          </a:prstGeom>
          <a:solidFill>
            <a:srgbClr val="E2A63A"/>
          </a:solidFill>
          <a:ln w="4763">
            <a:solidFill>
              <a:srgbClr val="000000"/>
            </a:solidFill>
            <a:miter lim="800000"/>
            <a:headEnd/>
            <a:tailEnd/>
          </a:ln>
        </p:spPr>
        <p:txBody>
          <a:bodyPr/>
          <a:lstStyle/>
          <a:p>
            <a:endParaRPr lang="en-US"/>
          </a:p>
        </p:txBody>
      </p:sp>
      <p:sp>
        <p:nvSpPr>
          <p:cNvPr id="14357" name="Rectangle 23"/>
          <p:cNvSpPr>
            <a:spLocks noChangeArrowheads="1"/>
          </p:cNvSpPr>
          <p:nvPr/>
        </p:nvSpPr>
        <p:spPr bwMode="ltGray">
          <a:xfrm>
            <a:off x="7675563" y="4710280"/>
            <a:ext cx="450850" cy="136525"/>
          </a:xfrm>
          <a:prstGeom prst="rect">
            <a:avLst/>
          </a:prstGeom>
          <a:noFill/>
          <a:ln w="9525">
            <a:noFill/>
            <a:miter lim="800000"/>
            <a:headEnd/>
            <a:tailEnd/>
          </a:ln>
        </p:spPr>
        <p:txBody>
          <a:bodyPr wrap="none" lIns="0" tIns="0" rIns="0" bIns="0">
            <a:spAutoFit/>
          </a:bodyPr>
          <a:lstStyle/>
          <a:p>
            <a:pPr defTabSz="865188">
              <a:buClrTx/>
              <a:buSzTx/>
              <a:buFontTx/>
              <a:buNone/>
            </a:pPr>
            <a:r>
              <a:rPr lang="en-US" sz="900">
                <a:solidFill>
                  <a:srgbClr val="000000"/>
                </a:solidFill>
                <a:latin typeface="Arial Unicode MS" pitchFamily="34" charset="-128"/>
              </a:rPr>
              <a:t>Software</a:t>
            </a:r>
            <a:endParaRPr lang="en-US" sz="2300"/>
          </a:p>
        </p:txBody>
      </p:sp>
      <p:sp>
        <p:nvSpPr>
          <p:cNvPr id="14358" name="Rectangle 24"/>
          <p:cNvSpPr>
            <a:spLocks noChangeArrowheads="1"/>
          </p:cNvSpPr>
          <p:nvPr/>
        </p:nvSpPr>
        <p:spPr bwMode="ltGray">
          <a:xfrm>
            <a:off x="7553325" y="4964280"/>
            <a:ext cx="80963" cy="80962"/>
          </a:xfrm>
          <a:prstGeom prst="rect">
            <a:avLst/>
          </a:prstGeom>
          <a:solidFill>
            <a:srgbClr val="B52525"/>
          </a:solidFill>
          <a:ln w="4763">
            <a:solidFill>
              <a:srgbClr val="000000"/>
            </a:solidFill>
            <a:miter lim="800000"/>
            <a:headEnd/>
            <a:tailEnd/>
          </a:ln>
        </p:spPr>
        <p:txBody>
          <a:bodyPr/>
          <a:lstStyle/>
          <a:p>
            <a:endParaRPr lang="en-US"/>
          </a:p>
        </p:txBody>
      </p:sp>
      <p:sp>
        <p:nvSpPr>
          <p:cNvPr id="14359" name="Rectangle 25"/>
          <p:cNvSpPr>
            <a:spLocks noChangeArrowheads="1"/>
          </p:cNvSpPr>
          <p:nvPr/>
        </p:nvSpPr>
        <p:spPr bwMode="ltGray">
          <a:xfrm>
            <a:off x="7675563" y="4918242"/>
            <a:ext cx="355600" cy="136525"/>
          </a:xfrm>
          <a:prstGeom prst="rect">
            <a:avLst/>
          </a:prstGeom>
          <a:noFill/>
          <a:ln w="9525">
            <a:noFill/>
            <a:miter lim="800000"/>
            <a:headEnd/>
            <a:tailEnd/>
          </a:ln>
        </p:spPr>
        <p:txBody>
          <a:bodyPr wrap="none" lIns="0" tIns="0" rIns="0" bIns="0">
            <a:spAutoFit/>
          </a:bodyPr>
          <a:lstStyle/>
          <a:p>
            <a:pPr defTabSz="865188">
              <a:buClrTx/>
              <a:buSzTx/>
              <a:buFontTx/>
              <a:buNone/>
            </a:pPr>
            <a:r>
              <a:rPr lang="en-US" sz="900">
                <a:solidFill>
                  <a:srgbClr val="000000"/>
                </a:solidFill>
                <a:latin typeface="Arial Unicode MS" pitchFamily="34" charset="-128"/>
              </a:rPr>
              <a:t>People</a:t>
            </a:r>
            <a:endParaRPr lang="en-US" sz="2300"/>
          </a:p>
        </p:txBody>
      </p:sp>
      <p:sp>
        <p:nvSpPr>
          <p:cNvPr id="14360" name="Text Box 26"/>
          <p:cNvSpPr txBox="1">
            <a:spLocks noChangeArrowheads="1"/>
          </p:cNvSpPr>
          <p:nvPr/>
        </p:nvSpPr>
        <p:spPr bwMode="blackGray">
          <a:xfrm>
            <a:off x="6387348" y="3682917"/>
            <a:ext cx="741362" cy="284162"/>
          </a:xfrm>
          <a:prstGeom prst="rect">
            <a:avLst/>
          </a:prstGeom>
          <a:noFill/>
          <a:ln w="12700" algn="ctr">
            <a:noFill/>
            <a:miter lim="800000"/>
            <a:headEnd type="none" w="lg" len="lg"/>
            <a:tailEnd type="none" w="lg" len="lg"/>
          </a:ln>
        </p:spPr>
        <p:txBody>
          <a:bodyPr wrap="none" lIns="86493" tIns="43247" rIns="86493" bIns="43247">
            <a:spAutoFit/>
          </a:bodyPr>
          <a:lstStyle/>
          <a:p>
            <a:pPr defTabSz="865188">
              <a:buClrTx/>
              <a:buSzTx/>
              <a:buFontTx/>
              <a:buNone/>
            </a:pPr>
            <a:r>
              <a:rPr lang="en-US" sz="1300" dirty="0">
                <a:solidFill>
                  <a:schemeClr val="bg1"/>
                </a:solidFill>
              </a:rPr>
              <a:t>65-75%</a:t>
            </a:r>
          </a:p>
        </p:txBody>
      </p:sp>
      <p:sp>
        <p:nvSpPr>
          <p:cNvPr id="14361" name="Text Box 27"/>
          <p:cNvSpPr txBox="1">
            <a:spLocks noChangeArrowheads="1"/>
          </p:cNvSpPr>
          <p:nvPr/>
        </p:nvSpPr>
        <p:spPr bwMode="blackGray">
          <a:xfrm rot="-3541189">
            <a:off x="6858000" y="2751138"/>
            <a:ext cx="649288" cy="284162"/>
          </a:xfrm>
          <a:prstGeom prst="rect">
            <a:avLst/>
          </a:prstGeom>
          <a:noFill/>
          <a:ln w="12700" algn="ctr">
            <a:noFill/>
            <a:miter lim="800000"/>
            <a:headEnd type="none" w="lg" len="lg"/>
            <a:tailEnd type="none" w="lg" len="lg"/>
          </a:ln>
        </p:spPr>
        <p:txBody>
          <a:bodyPr wrap="none" lIns="86493" tIns="43247" rIns="86493" bIns="43247">
            <a:spAutoFit/>
          </a:bodyPr>
          <a:lstStyle/>
          <a:p>
            <a:pPr defTabSz="865188">
              <a:buClrTx/>
              <a:buSzTx/>
              <a:buFontTx/>
              <a:buNone/>
            </a:pPr>
            <a:r>
              <a:rPr lang="en-US" sz="1300" dirty="0">
                <a:solidFill>
                  <a:schemeClr val="bg1"/>
                </a:solidFill>
              </a:rPr>
              <a:t>5-10%</a:t>
            </a:r>
          </a:p>
        </p:txBody>
      </p:sp>
      <p:sp>
        <p:nvSpPr>
          <p:cNvPr id="14362" name="Text Box 28"/>
          <p:cNvSpPr txBox="1">
            <a:spLocks noChangeArrowheads="1"/>
          </p:cNvSpPr>
          <p:nvPr/>
        </p:nvSpPr>
        <p:spPr bwMode="blackGray">
          <a:xfrm>
            <a:off x="7080250" y="3219450"/>
            <a:ext cx="741363" cy="284163"/>
          </a:xfrm>
          <a:prstGeom prst="rect">
            <a:avLst/>
          </a:prstGeom>
          <a:noFill/>
          <a:ln w="12700" algn="ctr">
            <a:noFill/>
            <a:miter lim="800000"/>
            <a:headEnd type="none" w="lg" len="lg"/>
            <a:tailEnd type="none" w="lg" len="lg"/>
          </a:ln>
        </p:spPr>
        <p:txBody>
          <a:bodyPr wrap="none" lIns="86493" tIns="43247" rIns="86493" bIns="43247">
            <a:spAutoFit/>
          </a:bodyPr>
          <a:lstStyle/>
          <a:p>
            <a:pPr defTabSz="865188">
              <a:buClrTx/>
              <a:buSzTx/>
              <a:buFontTx/>
              <a:buNone/>
            </a:pPr>
            <a:r>
              <a:rPr lang="en-US" sz="1300" dirty="0">
                <a:solidFill>
                  <a:schemeClr val="bg1"/>
                </a:solidFill>
              </a:rPr>
              <a:t>10-25%</a:t>
            </a:r>
          </a:p>
        </p:txBody>
      </p:sp>
    </p:spTree>
  </p:cSld>
  <p:clrMapOvr>
    <a:masterClrMapping/>
  </p:clrMapOvr>
  <p:transition>
    <p:sndAc>
      <p:stSnd>
        <p:snd r:embed="rId3" name="click.wav"/>
      </p:stSnd>
    </p:sndAc>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4722" name="Rectangle 2"/>
          <p:cNvSpPr>
            <a:spLocks noGrp="1" noChangeArrowheads="1"/>
          </p:cNvSpPr>
          <p:nvPr>
            <p:ph type="title"/>
          </p:nvPr>
        </p:nvSpPr>
        <p:spPr>
          <a:xfrm>
            <a:off x="195263" y="0"/>
            <a:ext cx="9283700" cy="885825"/>
          </a:xfrm>
        </p:spPr>
        <p:txBody>
          <a:bodyPr/>
          <a:lstStyle/>
          <a:p>
            <a:r>
              <a:rPr lang="en-US" sz="2000" b="0" dirty="0"/>
              <a:t>ERP Systems Overview</a:t>
            </a:r>
            <a:r>
              <a:rPr lang="en-US" sz="2000" dirty="0"/>
              <a:t> </a:t>
            </a:r>
            <a:r>
              <a:rPr lang="en-US" sz="2000" dirty="0" smtClean="0"/>
              <a:t>(Examples)</a:t>
            </a:r>
            <a:r>
              <a:rPr lang="en-US" sz="2000" dirty="0"/>
              <a:t/>
            </a:r>
            <a:br>
              <a:rPr lang="en-US" sz="2000" dirty="0"/>
            </a:br>
            <a:r>
              <a:rPr lang="en-US" sz="2000" b="0" dirty="0"/>
              <a:t>Implementation Approach Is Driven by Scope of Change</a:t>
            </a:r>
          </a:p>
        </p:txBody>
      </p:sp>
      <p:sp>
        <p:nvSpPr>
          <p:cNvPr id="414723" name="Line 2"/>
          <p:cNvSpPr>
            <a:spLocks noChangeShapeType="1"/>
          </p:cNvSpPr>
          <p:nvPr/>
        </p:nvSpPr>
        <p:spPr bwMode="auto">
          <a:xfrm>
            <a:off x="4432300" y="1600200"/>
            <a:ext cx="1588" cy="4597400"/>
          </a:xfrm>
          <a:prstGeom prst="line">
            <a:avLst/>
          </a:prstGeom>
          <a:noFill/>
          <a:ln w="12700">
            <a:solidFill>
              <a:schemeClr val="tx1"/>
            </a:solidFill>
            <a:round/>
            <a:headEnd type="none" w="sm" len="sm"/>
            <a:tailEnd type="none" w="sm" len="sm"/>
          </a:ln>
        </p:spPr>
        <p:txBody>
          <a:bodyPr wrap="none" anchor="ctr"/>
          <a:lstStyle/>
          <a:p>
            <a:endParaRPr lang="en-US"/>
          </a:p>
        </p:txBody>
      </p:sp>
      <p:sp>
        <p:nvSpPr>
          <p:cNvPr id="414724" name="Line 3"/>
          <p:cNvSpPr>
            <a:spLocks noChangeShapeType="1"/>
          </p:cNvSpPr>
          <p:nvPr/>
        </p:nvSpPr>
        <p:spPr bwMode="auto">
          <a:xfrm>
            <a:off x="0" y="3473450"/>
            <a:ext cx="8180388" cy="1588"/>
          </a:xfrm>
          <a:prstGeom prst="line">
            <a:avLst/>
          </a:prstGeom>
          <a:noFill/>
          <a:ln w="12700">
            <a:solidFill>
              <a:schemeClr val="tx1"/>
            </a:solidFill>
            <a:round/>
            <a:headEnd type="none" w="sm" len="sm"/>
            <a:tailEnd type="none" w="sm" len="sm"/>
          </a:ln>
        </p:spPr>
        <p:txBody>
          <a:bodyPr wrap="none" anchor="ctr"/>
          <a:lstStyle/>
          <a:p>
            <a:endParaRPr lang="en-US"/>
          </a:p>
        </p:txBody>
      </p:sp>
      <p:sp>
        <p:nvSpPr>
          <p:cNvPr id="414725" name="Rectangle 4"/>
          <p:cNvSpPr>
            <a:spLocks noChangeArrowheads="1"/>
          </p:cNvSpPr>
          <p:nvPr/>
        </p:nvSpPr>
        <p:spPr bwMode="auto">
          <a:xfrm>
            <a:off x="272853" y="1147927"/>
            <a:ext cx="3765550" cy="635000"/>
          </a:xfrm>
          <a:prstGeom prst="rect">
            <a:avLst/>
          </a:prstGeom>
          <a:solidFill>
            <a:schemeClr val="bg1"/>
          </a:solidFill>
          <a:ln w="9525">
            <a:noFill/>
            <a:miter lim="800000"/>
            <a:headEnd/>
            <a:tailEnd/>
          </a:ln>
        </p:spPr>
        <p:txBody>
          <a:bodyPr lIns="85935" tIns="42968" rIns="85935" bIns="42968">
            <a:spAutoFit/>
          </a:bodyPr>
          <a:lstStyle/>
          <a:p>
            <a:pPr algn="ctr" defTabSz="854075" eaLnBrk="0" hangingPunct="0"/>
            <a:r>
              <a:rPr lang="en-US" sz="1800" dirty="0"/>
              <a:t>Implementing new “best” </a:t>
            </a:r>
          </a:p>
          <a:p>
            <a:pPr algn="ctr" defTabSz="854075" eaLnBrk="0" hangingPunct="0"/>
            <a:r>
              <a:rPr lang="en-US" sz="1800" dirty="0"/>
              <a:t>practices</a:t>
            </a:r>
          </a:p>
        </p:txBody>
      </p:sp>
      <p:sp>
        <p:nvSpPr>
          <p:cNvPr id="414726" name="Rectangle 5"/>
          <p:cNvSpPr>
            <a:spLocks noChangeArrowheads="1"/>
          </p:cNvSpPr>
          <p:nvPr/>
        </p:nvSpPr>
        <p:spPr bwMode="auto">
          <a:xfrm>
            <a:off x="4667509" y="1133034"/>
            <a:ext cx="3943811" cy="779272"/>
          </a:xfrm>
          <a:prstGeom prst="rect">
            <a:avLst/>
          </a:prstGeom>
          <a:solidFill>
            <a:schemeClr val="bg1"/>
          </a:solidFill>
          <a:ln w="9525">
            <a:noFill/>
            <a:miter lim="800000"/>
            <a:headEnd/>
            <a:tailEnd/>
          </a:ln>
        </p:spPr>
        <p:txBody>
          <a:bodyPr wrap="none" lIns="85935" tIns="42968" rIns="85935" bIns="42968">
            <a:spAutoFit/>
          </a:bodyPr>
          <a:lstStyle/>
          <a:p>
            <a:pPr algn="ctr" defTabSz="854075" eaLnBrk="0" hangingPunct="0"/>
            <a:r>
              <a:rPr lang="en-US" sz="1800" dirty="0"/>
              <a:t>Removing </a:t>
            </a:r>
            <a:r>
              <a:rPr lang="en-US" sz="1800" dirty="0" smtClean="0"/>
              <a:t>non value-added </a:t>
            </a:r>
            <a:r>
              <a:rPr lang="en-US" sz="1800" dirty="0"/>
              <a:t>activities</a:t>
            </a:r>
          </a:p>
          <a:p>
            <a:pPr algn="ctr" defTabSz="854075" eaLnBrk="0" hangingPunct="0"/>
            <a:r>
              <a:rPr lang="en-US" sz="1800" dirty="0"/>
              <a:t>from processes</a:t>
            </a:r>
          </a:p>
        </p:txBody>
      </p:sp>
      <p:sp>
        <p:nvSpPr>
          <p:cNvPr id="414727" name="Rectangle 6"/>
          <p:cNvSpPr>
            <a:spLocks noChangeArrowheads="1"/>
          </p:cNvSpPr>
          <p:nvPr/>
        </p:nvSpPr>
        <p:spPr bwMode="auto">
          <a:xfrm>
            <a:off x="477838" y="3698875"/>
            <a:ext cx="3371850" cy="635000"/>
          </a:xfrm>
          <a:prstGeom prst="rect">
            <a:avLst/>
          </a:prstGeom>
          <a:noFill/>
          <a:ln w="9525">
            <a:noFill/>
            <a:miter lim="800000"/>
            <a:headEnd/>
            <a:tailEnd/>
          </a:ln>
        </p:spPr>
        <p:txBody>
          <a:bodyPr wrap="none" lIns="85935" tIns="42968" rIns="85935" bIns="42968">
            <a:spAutoFit/>
          </a:bodyPr>
          <a:lstStyle/>
          <a:p>
            <a:pPr algn="ctr" defTabSz="854075" eaLnBrk="0" hangingPunct="0"/>
            <a:r>
              <a:rPr lang="en-US" sz="1800"/>
              <a:t>Standardizing nomenclature /</a:t>
            </a:r>
            <a:br>
              <a:rPr lang="en-US" sz="1800"/>
            </a:br>
            <a:r>
              <a:rPr lang="en-US" sz="1800"/>
              <a:t>data across the enterprise</a:t>
            </a:r>
          </a:p>
        </p:txBody>
      </p:sp>
      <p:sp>
        <p:nvSpPr>
          <p:cNvPr id="414728" name="Rectangle 7"/>
          <p:cNvSpPr>
            <a:spLocks noChangeArrowheads="1"/>
          </p:cNvSpPr>
          <p:nvPr/>
        </p:nvSpPr>
        <p:spPr bwMode="auto">
          <a:xfrm>
            <a:off x="4914900" y="3687763"/>
            <a:ext cx="3587750" cy="635000"/>
          </a:xfrm>
          <a:prstGeom prst="rect">
            <a:avLst/>
          </a:prstGeom>
          <a:noFill/>
          <a:ln w="9525">
            <a:noFill/>
            <a:miter lim="800000"/>
            <a:headEnd/>
            <a:tailEnd/>
          </a:ln>
        </p:spPr>
        <p:txBody>
          <a:bodyPr wrap="none" lIns="85935" tIns="42968" rIns="85935" bIns="42968">
            <a:spAutoFit/>
          </a:bodyPr>
          <a:lstStyle/>
          <a:p>
            <a:pPr algn="ctr" defTabSz="854075" eaLnBrk="0" hangingPunct="0"/>
            <a:r>
              <a:rPr lang="en-US" sz="1800"/>
              <a:t>Restructuring where processes</a:t>
            </a:r>
          </a:p>
          <a:p>
            <a:pPr algn="ctr" defTabSz="854075" eaLnBrk="0" hangingPunct="0"/>
            <a:r>
              <a:rPr lang="en-US" sz="1800"/>
              <a:t>get done</a:t>
            </a:r>
          </a:p>
        </p:txBody>
      </p:sp>
      <p:sp>
        <p:nvSpPr>
          <p:cNvPr id="414729" name="Rectangle 8"/>
          <p:cNvSpPr>
            <a:spLocks noChangeArrowheads="1"/>
          </p:cNvSpPr>
          <p:nvPr/>
        </p:nvSpPr>
        <p:spPr bwMode="auto">
          <a:xfrm>
            <a:off x="2008188" y="4500563"/>
            <a:ext cx="169862" cy="371475"/>
          </a:xfrm>
          <a:prstGeom prst="rect">
            <a:avLst/>
          </a:prstGeom>
          <a:noFill/>
          <a:ln w="9525">
            <a:noFill/>
            <a:miter lim="800000"/>
            <a:headEnd/>
            <a:tailEnd/>
          </a:ln>
        </p:spPr>
        <p:txBody>
          <a:bodyPr wrap="none" anchor="ctr"/>
          <a:lstStyle/>
          <a:p>
            <a:endParaRPr lang="en-US" sz="2800"/>
          </a:p>
        </p:txBody>
      </p:sp>
      <p:pic>
        <p:nvPicPr>
          <p:cNvPr id="414730" name="Picture 9"/>
          <p:cNvPicPr>
            <a:picLocks noChangeArrowheads="1"/>
          </p:cNvPicPr>
          <p:nvPr/>
        </p:nvPicPr>
        <p:blipFill>
          <a:blip r:embed="rId4" cstate="print"/>
          <a:srcRect/>
          <a:stretch>
            <a:fillRect/>
          </a:stretch>
        </p:blipFill>
        <p:spPr bwMode="auto">
          <a:xfrm>
            <a:off x="814388" y="2060575"/>
            <a:ext cx="2155825" cy="1250950"/>
          </a:xfrm>
          <a:prstGeom prst="rect">
            <a:avLst/>
          </a:prstGeom>
          <a:noFill/>
          <a:ln w="9525">
            <a:noFill/>
            <a:miter lim="800000"/>
            <a:headEnd/>
            <a:tailEnd/>
          </a:ln>
        </p:spPr>
      </p:pic>
      <p:pic>
        <p:nvPicPr>
          <p:cNvPr id="414731" name="Picture 10"/>
          <p:cNvPicPr>
            <a:picLocks noChangeArrowheads="1"/>
          </p:cNvPicPr>
          <p:nvPr/>
        </p:nvPicPr>
        <p:blipFill>
          <a:blip r:embed="rId5" cstate="print"/>
          <a:srcRect/>
          <a:stretch>
            <a:fillRect/>
          </a:stretch>
        </p:blipFill>
        <p:spPr bwMode="auto">
          <a:xfrm>
            <a:off x="1262063" y="4459288"/>
            <a:ext cx="1866900" cy="1271587"/>
          </a:xfrm>
          <a:prstGeom prst="rect">
            <a:avLst/>
          </a:prstGeom>
          <a:noFill/>
          <a:ln w="9525">
            <a:noFill/>
            <a:miter lim="800000"/>
            <a:headEnd/>
            <a:tailEnd/>
          </a:ln>
        </p:spPr>
      </p:pic>
      <p:sp>
        <p:nvSpPr>
          <p:cNvPr id="414732" name="Rectangle 11"/>
          <p:cNvSpPr>
            <a:spLocks noChangeArrowheads="1"/>
          </p:cNvSpPr>
          <p:nvPr/>
        </p:nvSpPr>
        <p:spPr bwMode="auto">
          <a:xfrm>
            <a:off x="1500188" y="2625725"/>
            <a:ext cx="2654300" cy="542925"/>
          </a:xfrm>
          <a:prstGeom prst="rect">
            <a:avLst/>
          </a:prstGeom>
          <a:noFill/>
          <a:ln w="9525">
            <a:noFill/>
            <a:miter lim="800000"/>
            <a:headEnd/>
            <a:tailEnd/>
          </a:ln>
        </p:spPr>
        <p:txBody>
          <a:bodyPr lIns="85935" tIns="42968" rIns="85935" bIns="42968">
            <a:spAutoFit/>
          </a:bodyPr>
          <a:lstStyle/>
          <a:p>
            <a:pPr defTabSz="904875" eaLnBrk="0" hangingPunct="0"/>
            <a:r>
              <a:rPr lang="en-US" sz="1500" b="0"/>
              <a:t>e.g., activity-based analysis, procurement cards, workflow</a:t>
            </a:r>
          </a:p>
        </p:txBody>
      </p:sp>
      <p:graphicFrame>
        <p:nvGraphicFramePr>
          <p:cNvPr id="414733" name="Object 12"/>
          <p:cNvGraphicFramePr>
            <a:graphicFrameLocks/>
          </p:cNvGraphicFramePr>
          <p:nvPr/>
        </p:nvGraphicFramePr>
        <p:xfrm>
          <a:off x="5989638" y="4459288"/>
          <a:ext cx="1293812" cy="1266825"/>
        </p:xfrm>
        <a:graphic>
          <a:graphicData uri="http://schemas.openxmlformats.org/presentationml/2006/ole">
            <p:oleObj spid="_x0000_s561154" name="Clip" r:id="rId6" imgW="3660480" imgH="2358720" progId="">
              <p:embed/>
            </p:oleObj>
          </a:graphicData>
        </a:graphic>
      </p:graphicFrame>
      <p:sp>
        <p:nvSpPr>
          <p:cNvPr id="414734" name="Rectangle 13"/>
          <p:cNvSpPr>
            <a:spLocks noChangeArrowheads="1"/>
          </p:cNvSpPr>
          <p:nvPr/>
        </p:nvSpPr>
        <p:spPr bwMode="auto">
          <a:xfrm>
            <a:off x="1222375" y="5729288"/>
            <a:ext cx="2852738" cy="314325"/>
          </a:xfrm>
          <a:prstGeom prst="rect">
            <a:avLst/>
          </a:prstGeom>
          <a:noFill/>
          <a:ln w="9525">
            <a:noFill/>
            <a:miter lim="800000"/>
            <a:headEnd/>
            <a:tailEnd/>
          </a:ln>
        </p:spPr>
        <p:txBody>
          <a:bodyPr lIns="85935" tIns="42968" rIns="85935" bIns="42968">
            <a:spAutoFit/>
          </a:bodyPr>
          <a:lstStyle/>
          <a:p>
            <a:pPr defTabSz="904875" eaLnBrk="0" hangingPunct="0"/>
            <a:r>
              <a:rPr lang="en-US" sz="1500" b="0"/>
              <a:t>e.g., common chart of accounts</a:t>
            </a:r>
          </a:p>
        </p:txBody>
      </p:sp>
      <p:sp>
        <p:nvSpPr>
          <p:cNvPr id="414735" name="Rectangle 14"/>
          <p:cNvSpPr>
            <a:spLocks noChangeArrowheads="1"/>
          </p:cNvSpPr>
          <p:nvPr/>
        </p:nvSpPr>
        <p:spPr bwMode="auto">
          <a:xfrm>
            <a:off x="5446713" y="5800725"/>
            <a:ext cx="2471737" cy="314325"/>
          </a:xfrm>
          <a:prstGeom prst="rect">
            <a:avLst/>
          </a:prstGeom>
          <a:noFill/>
          <a:ln w="9525">
            <a:noFill/>
            <a:miter lim="800000"/>
            <a:headEnd/>
            <a:tailEnd/>
          </a:ln>
        </p:spPr>
        <p:txBody>
          <a:bodyPr lIns="85935" tIns="42968" rIns="85935" bIns="42968">
            <a:spAutoFit/>
          </a:bodyPr>
          <a:lstStyle/>
          <a:p>
            <a:pPr defTabSz="904875" eaLnBrk="0" hangingPunct="0"/>
            <a:r>
              <a:rPr lang="en-US" sz="1500" b="0"/>
              <a:t>e.g., shared services</a:t>
            </a:r>
          </a:p>
        </p:txBody>
      </p:sp>
      <p:pic>
        <p:nvPicPr>
          <p:cNvPr id="414736" name="Picture 15"/>
          <p:cNvPicPr>
            <a:picLocks noChangeArrowheads="1"/>
          </p:cNvPicPr>
          <p:nvPr/>
        </p:nvPicPr>
        <p:blipFill>
          <a:blip r:embed="rId7" cstate="print"/>
          <a:srcRect/>
          <a:stretch>
            <a:fillRect/>
          </a:stretch>
        </p:blipFill>
        <p:spPr bwMode="auto">
          <a:xfrm>
            <a:off x="5918200" y="2263775"/>
            <a:ext cx="1476375" cy="600075"/>
          </a:xfrm>
          <a:prstGeom prst="rect">
            <a:avLst/>
          </a:prstGeom>
          <a:noFill/>
          <a:ln w="9525">
            <a:noFill/>
            <a:miter lim="800000"/>
            <a:headEnd/>
            <a:tailEnd/>
          </a:ln>
        </p:spPr>
      </p:pic>
      <p:sp>
        <p:nvSpPr>
          <p:cNvPr id="414737" name="Rectangle 16"/>
          <p:cNvSpPr>
            <a:spLocks noChangeArrowheads="1"/>
          </p:cNvSpPr>
          <p:nvPr/>
        </p:nvSpPr>
        <p:spPr bwMode="auto">
          <a:xfrm>
            <a:off x="5003800" y="2852738"/>
            <a:ext cx="3298825" cy="542925"/>
          </a:xfrm>
          <a:prstGeom prst="rect">
            <a:avLst/>
          </a:prstGeom>
          <a:noFill/>
          <a:ln w="9525">
            <a:noFill/>
            <a:miter lim="800000"/>
            <a:headEnd/>
            <a:tailEnd/>
          </a:ln>
        </p:spPr>
        <p:txBody>
          <a:bodyPr lIns="85935" tIns="42968" rIns="85935" bIns="42968">
            <a:spAutoFit/>
          </a:bodyPr>
          <a:lstStyle/>
          <a:p>
            <a:pPr defTabSz="904875" eaLnBrk="0" hangingPunct="0"/>
            <a:r>
              <a:rPr lang="en-US" sz="1500" b="0"/>
              <a:t>e.g., move from three-way matching to payment on receipt</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Rectangle 2"/>
          <p:cNvSpPr>
            <a:spLocks noGrp="1" noChangeArrowheads="1"/>
          </p:cNvSpPr>
          <p:nvPr>
            <p:ph type="title"/>
          </p:nvPr>
        </p:nvSpPr>
        <p:spPr>
          <a:xfrm>
            <a:off x="393700" y="163513"/>
            <a:ext cx="8353425" cy="773112"/>
          </a:xfrm>
        </p:spPr>
        <p:txBody>
          <a:bodyPr/>
          <a:lstStyle/>
          <a:p>
            <a:pPr eaLnBrk="1" hangingPunct="1"/>
            <a:r>
              <a:rPr lang="en-US" dirty="0" smtClean="0"/>
              <a:t>Description of Participants</a:t>
            </a:r>
          </a:p>
        </p:txBody>
      </p:sp>
      <p:sp>
        <p:nvSpPr>
          <p:cNvPr id="57346" name="Oval 3"/>
          <p:cNvSpPr>
            <a:spLocks noChangeArrowheads="1"/>
          </p:cNvSpPr>
          <p:nvPr/>
        </p:nvSpPr>
        <p:spPr bwMode="auto">
          <a:xfrm>
            <a:off x="2871635" y="1193741"/>
            <a:ext cx="3541197" cy="4357688"/>
          </a:xfrm>
          <a:prstGeom prst="ellipse">
            <a:avLst/>
          </a:prstGeom>
          <a:solidFill>
            <a:srgbClr val="C7C9DF">
              <a:alpha val="50195"/>
            </a:srgbClr>
          </a:solidFill>
          <a:ln w="9525">
            <a:noFill/>
            <a:round/>
            <a:headEnd/>
            <a:tailEnd/>
          </a:ln>
        </p:spPr>
        <p:txBody>
          <a:bodyPr wrap="none" anchor="ctr"/>
          <a:lstStyle/>
          <a:p>
            <a:pPr algn="ctr">
              <a:spcBef>
                <a:spcPct val="50000"/>
              </a:spcBef>
              <a:buClr>
                <a:schemeClr val="accent1"/>
              </a:buClr>
              <a:buFont typeface="Wingdings" pitchFamily="2" charset="2"/>
              <a:buNone/>
            </a:pPr>
            <a:endParaRPr lang="en-US" dirty="0"/>
          </a:p>
        </p:txBody>
      </p:sp>
      <p:sp>
        <p:nvSpPr>
          <p:cNvPr id="57347" name="Oval 4"/>
          <p:cNvSpPr>
            <a:spLocks noChangeArrowheads="1"/>
          </p:cNvSpPr>
          <p:nvPr/>
        </p:nvSpPr>
        <p:spPr bwMode="auto">
          <a:xfrm>
            <a:off x="3310954" y="2713165"/>
            <a:ext cx="2706687" cy="2665412"/>
          </a:xfrm>
          <a:prstGeom prst="ellipse">
            <a:avLst/>
          </a:prstGeom>
          <a:solidFill>
            <a:srgbClr val="E7E7ED">
              <a:alpha val="50195"/>
            </a:srgbClr>
          </a:solidFill>
          <a:ln w="9525">
            <a:noFill/>
            <a:round/>
            <a:headEnd/>
            <a:tailEnd/>
          </a:ln>
        </p:spPr>
        <p:txBody>
          <a:bodyPr wrap="none" anchor="ctr"/>
          <a:lstStyle/>
          <a:p>
            <a:pPr algn="ctr">
              <a:spcBef>
                <a:spcPct val="50000"/>
              </a:spcBef>
              <a:buClr>
                <a:schemeClr val="accent1"/>
              </a:buClr>
              <a:buFont typeface="Wingdings" pitchFamily="2" charset="2"/>
              <a:buNone/>
            </a:pPr>
            <a:endParaRPr lang="en-US" dirty="0"/>
          </a:p>
        </p:txBody>
      </p:sp>
      <p:sp>
        <p:nvSpPr>
          <p:cNvPr id="57348" name="Oval 5"/>
          <p:cNvSpPr>
            <a:spLocks noChangeArrowheads="1"/>
          </p:cNvSpPr>
          <p:nvPr/>
        </p:nvSpPr>
        <p:spPr bwMode="auto">
          <a:xfrm>
            <a:off x="4006055" y="1937145"/>
            <a:ext cx="1393825" cy="1373188"/>
          </a:xfrm>
          <a:prstGeom prst="ellipse">
            <a:avLst/>
          </a:prstGeom>
          <a:solidFill>
            <a:srgbClr val="FFFFFF">
              <a:alpha val="50195"/>
            </a:srgbClr>
          </a:solidFill>
          <a:ln w="9525">
            <a:noFill/>
            <a:round/>
            <a:headEnd/>
            <a:tailEnd/>
          </a:ln>
        </p:spPr>
        <p:txBody>
          <a:bodyPr wrap="none" anchor="ctr"/>
          <a:lstStyle/>
          <a:p>
            <a:pPr algn="ctr">
              <a:spcBef>
                <a:spcPct val="50000"/>
              </a:spcBef>
              <a:buClr>
                <a:schemeClr val="accent1"/>
              </a:buClr>
              <a:buFont typeface="Wingdings" pitchFamily="2" charset="2"/>
              <a:buNone/>
            </a:pPr>
            <a:endParaRPr lang="en-US" dirty="0"/>
          </a:p>
        </p:txBody>
      </p:sp>
      <p:sp>
        <p:nvSpPr>
          <p:cNvPr id="57349" name="Rectangle 7"/>
          <p:cNvSpPr>
            <a:spLocks noChangeArrowheads="1"/>
          </p:cNvSpPr>
          <p:nvPr/>
        </p:nvSpPr>
        <p:spPr bwMode="auto">
          <a:xfrm>
            <a:off x="433136" y="1174560"/>
            <a:ext cx="2153653" cy="2595718"/>
          </a:xfrm>
          <a:prstGeom prst="rect">
            <a:avLst/>
          </a:prstGeom>
          <a:gradFill>
            <a:gsLst>
              <a:gs pos="0">
                <a:srgbClr val="FFEFD1"/>
              </a:gs>
              <a:gs pos="64999">
                <a:srgbClr val="F0EBD5"/>
              </a:gs>
              <a:gs pos="100000">
                <a:srgbClr val="D1C39F"/>
              </a:gs>
            </a:gsLst>
            <a:lin ang="16200000" scaled="0"/>
          </a:gradFill>
          <a:ln w="9525">
            <a:noFill/>
            <a:miter lim="800000"/>
            <a:headEnd/>
            <a:tailEnd/>
          </a:ln>
        </p:spPr>
        <p:txBody>
          <a:bodyPr wrap="square" lIns="86493" tIns="43247" rIns="86493" bIns="43247">
            <a:spAutoFit/>
          </a:bodyPr>
          <a:lstStyle/>
          <a:p>
            <a:pPr algn="r" defTabSz="865188" eaLnBrk="0" hangingPunct="0">
              <a:buFont typeface="Wingdings" pitchFamily="2" charset="2"/>
              <a:buNone/>
            </a:pPr>
            <a:r>
              <a:rPr lang="en-US" sz="1300" b="1" dirty="0" smtClean="0">
                <a:solidFill>
                  <a:schemeClr val="accent1"/>
                </a:solidFill>
              </a:rPr>
              <a:t>Functional Experts</a:t>
            </a:r>
            <a:endParaRPr lang="en-US" sz="1300" b="1" dirty="0">
              <a:solidFill>
                <a:schemeClr val="accent1"/>
              </a:solidFill>
            </a:endParaRPr>
          </a:p>
          <a:p>
            <a:pPr algn="r" defTabSz="865188" eaLnBrk="0" hangingPunct="0">
              <a:buFont typeface="Wingdings" pitchFamily="2" charset="2"/>
              <a:buNone/>
            </a:pPr>
            <a:r>
              <a:rPr lang="en-US" sz="1000" b="0" dirty="0">
                <a:solidFill>
                  <a:srgbClr val="000000"/>
                </a:solidFill>
              </a:rPr>
              <a:t> </a:t>
            </a:r>
            <a:r>
              <a:rPr lang="en-US" sz="1000" b="0" dirty="0" smtClean="0">
                <a:solidFill>
                  <a:srgbClr val="000000"/>
                </a:solidFill>
              </a:rPr>
              <a:t>Admissions / Enrollment</a:t>
            </a:r>
            <a:endParaRPr lang="en-US" sz="1000" b="0" dirty="0">
              <a:solidFill>
                <a:srgbClr val="000000"/>
              </a:solidFill>
            </a:endParaRPr>
          </a:p>
          <a:p>
            <a:pPr algn="r" defTabSz="865188" eaLnBrk="0" hangingPunct="0">
              <a:buFont typeface="Wingdings" pitchFamily="2" charset="2"/>
              <a:buNone/>
            </a:pPr>
            <a:r>
              <a:rPr lang="en-US" sz="1000" b="0" dirty="0">
                <a:solidFill>
                  <a:srgbClr val="000000"/>
                </a:solidFill>
              </a:rPr>
              <a:t> Registrar</a:t>
            </a:r>
          </a:p>
          <a:p>
            <a:pPr algn="r" defTabSz="865188" eaLnBrk="0" hangingPunct="0">
              <a:buFont typeface="Wingdings" pitchFamily="2" charset="2"/>
              <a:buNone/>
            </a:pPr>
            <a:r>
              <a:rPr lang="en-US" sz="1000" b="0" dirty="0">
                <a:solidFill>
                  <a:srgbClr val="000000"/>
                </a:solidFill>
              </a:rPr>
              <a:t> Bursar</a:t>
            </a:r>
          </a:p>
          <a:p>
            <a:pPr algn="r" defTabSz="865188" eaLnBrk="0" hangingPunct="0">
              <a:buFont typeface="Wingdings" pitchFamily="2" charset="2"/>
              <a:buNone/>
            </a:pPr>
            <a:r>
              <a:rPr lang="en-US" sz="1000" b="0" dirty="0">
                <a:solidFill>
                  <a:srgbClr val="000000"/>
                </a:solidFill>
              </a:rPr>
              <a:t> Academic Advising</a:t>
            </a:r>
          </a:p>
          <a:p>
            <a:pPr algn="r" defTabSz="865188" eaLnBrk="0" hangingPunct="0">
              <a:buFont typeface="Wingdings" pitchFamily="2" charset="2"/>
              <a:buNone/>
            </a:pPr>
            <a:r>
              <a:rPr lang="en-US" sz="1000" b="0" dirty="0">
                <a:solidFill>
                  <a:srgbClr val="000000"/>
                </a:solidFill>
              </a:rPr>
              <a:t> Faculty</a:t>
            </a:r>
          </a:p>
          <a:p>
            <a:pPr algn="r" defTabSz="865188" eaLnBrk="0" hangingPunct="0">
              <a:buFont typeface="Wingdings" pitchFamily="2" charset="2"/>
              <a:buNone/>
            </a:pPr>
            <a:r>
              <a:rPr lang="en-US" sz="1000" b="0" dirty="0">
                <a:solidFill>
                  <a:srgbClr val="000000"/>
                </a:solidFill>
              </a:rPr>
              <a:t> Financial </a:t>
            </a:r>
            <a:r>
              <a:rPr lang="en-US" sz="1000" b="0" dirty="0" smtClean="0">
                <a:solidFill>
                  <a:srgbClr val="000000"/>
                </a:solidFill>
              </a:rPr>
              <a:t>Aid</a:t>
            </a:r>
            <a:endParaRPr lang="en-US" sz="1000" b="0" dirty="0">
              <a:solidFill>
                <a:srgbClr val="000000"/>
              </a:solidFill>
            </a:endParaRPr>
          </a:p>
          <a:p>
            <a:pPr algn="r" defTabSz="865188" eaLnBrk="0" hangingPunct="0">
              <a:buFont typeface="Wingdings" pitchFamily="2" charset="2"/>
              <a:buNone/>
            </a:pPr>
            <a:r>
              <a:rPr lang="en-US" sz="1000" b="0" dirty="0">
                <a:solidFill>
                  <a:srgbClr val="000000"/>
                </a:solidFill>
              </a:rPr>
              <a:t> Process Integration</a:t>
            </a:r>
          </a:p>
          <a:p>
            <a:pPr algn="r" defTabSz="865188" eaLnBrk="0" hangingPunct="0">
              <a:buFont typeface="Wingdings" pitchFamily="2" charset="2"/>
              <a:buNone/>
            </a:pPr>
            <a:r>
              <a:rPr lang="en-US" sz="1000" b="0" dirty="0">
                <a:solidFill>
                  <a:srgbClr val="000000"/>
                </a:solidFill>
              </a:rPr>
              <a:t> Organization Change Mgmt</a:t>
            </a:r>
          </a:p>
          <a:p>
            <a:pPr algn="r" defTabSz="865188" eaLnBrk="0" hangingPunct="0">
              <a:buFont typeface="Wingdings" pitchFamily="2" charset="2"/>
              <a:buNone/>
            </a:pPr>
            <a:r>
              <a:rPr lang="en-US" sz="1000" b="0" dirty="0">
                <a:solidFill>
                  <a:srgbClr val="000000"/>
                </a:solidFill>
              </a:rPr>
              <a:t> Training</a:t>
            </a:r>
          </a:p>
          <a:p>
            <a:pPr algn="r" defTabSz="865188" eaLnBrk="0" hangingPunct="0">
              <a:buFont typeface="Wingdings" pitchFamily="2" charset="2"/>
              <a:buNone/>
            </a:pPr>
            <a:r>
              <a:rPr lang="en-US" sz="1000" b="0" dirty="0">
                <a:solidFill>
                  <a:srgbClr val="000000"/>
                </a:solidFill>
              </a:rPr>
              <a:t> </a:t>
            </a:r>
            <a:r>
              <a:rPr lang="en-US" sz="1000" b="0" dirty="0" smtClean="0">
                <a:solidFill>
                  <a:srgbClr val="000000"/>
                </a:solidFill>
              </a:rPr>
              <a:t>Reporting / Information Access</a:t>
            </a:r>
            <a:endParaRPr lang="en-US" sz="1000" b="0" dirty="0">
              <a:solidFill>
                <a:srgbClr val="000000"/>
              </a:solidFill>
            </a:endParaRPr>
          </a:p>
        </p:txBody>
      </p:sp>
      <p:sp>
        <p:nvSpPr>
          <p:cNvPr id="57350" name="Rectangle 8"/>
          <p:cNvSpPr>
            <a:spLocks noChangeArrowheads="1"/>
          </p:cNvSpPr>
          <p:nvPr/>
        </p:nvSpPr>
        <p:spPr bwMode="auto">
          <a:xfrm>
            <a:off x="445167" y="4176994"/>
            <a:ext cx="2117559" cy="1441556"/>
          </a:xfrm>
          <a:prstGeom prst="rect">
            <a:avLst/>
          </a:prstGeom>
          <a:gradFill>
            <a:gsLst>
              <a:gs pos="0">
                <a:srgbClr val="FFEFD1"/>
              </a:gs>
              <a:gs pos="64999">
                <a:srgbClr val="F0EBD5"/>
              </a:gs>
              <a:gs pos="100000">
                <a:srgbClr val="D1C39F"/>
              </a:gs>
            </a:gsLst>
            <a:lin ang="16200000" scaled="0"/>
          </a:gradFill>
          <a:ln w="9525">
            <a:noFill/>
            <a:miter lim="800000"/>
            <a:headEnd/>
            <a:tailEnd/>
          </a:ln>
        </p:spPr>
        <p:txBody>
          <a:bodyPr wrap="square" lIns="86493" tIns="43247" rIns="86493" bIns="43247">
            <a:spAutoFit/>
          </a:bodyPr>
          <a:lstStyle/>
          <a:p>
            <a:pPr algn="r" defTabSz="865188" eaLnBrk="0" hangingPunct="0">
              <a:buFont typeface="Wingdings" pitchFamily="2" charset="2"/>
              <a:buNone/>
            </a:pPr>
            <a:r>
              <a:rPr lang="en-US" sz="1300" b="1" dirty="0">
                <a:solidFill>
                  <a:schemeClr val="accent1"/>
                </a:solidFill>
              </a:rPr>
              <a:t>Project Sponsors</a:t>
            </a:r>
          </a:p>
          <a:p>
            <a:pPr algn="r" defTabSz="865188" eaLnBrk="0" hangingPunct="0">
              <a:buFont typeface="Wingdings" pitchFamily="2" charset="2"/>
              <a:buNone/>
            </a:pPr>
            <a:r>
              <a:rPr lang="en-US" sz="1000" b="0" dirty="0">
                <a:solidFill>
                  <a:srgbClr val="000000"/>
                </a:solidFill>
              </a:rPr>
              <a:t> Business Sponsor</a:t>
            </a:r>
          </a:p>
          <a:p>
            <a:pPr algn="r" defTabSz="865188" eaLnBrk="0" hangingPunct="0">
              <a:buFont typeface="Wingdings" pitchFamily="2" charset="2"/>
              <a:buNone/>
            </a:pPr>
            <a:r>
              <a:rPr lang="en-US" sz="1000" b="0" dirty="0">
                <a:solidFill>
                  <a:srgbClr val="000000"/>
                </a:solidFill>
              </a:rPr>
              <a:t> IT Sponsor</a:t>
            </a:r>
          </a:p>
          <a:p>
            <a:pPr algn="r" defTabSz="865188" eaLnBrk="0" hangingPunct="0">
              <a:buFont typeface="Wingdings" pitchFamily="2" charset="2"/>
              <a:buNone/>
            </a:pPr>
            <a:r>
              <a:rPr lang="en-US" sz="1000" b="0" dirty="0" smtClean="0">
                <a:solidFill>
                  <a:srgbClr val="000000"/>
                </a:solidFill>
              </a:rPr>
              <a:t>College Presidents</a:t>
            </a:r>
            <a:endParaRPr lang="en-US" sz="1000" b="0" dirty="0">
              <a:solidFill>
                <a:srgbClr val="000000"/>
              </a:solidFill>
            </a:endParaRPr>
          </a:p>
          <a:p>
            <a:pPr algn="r" defTabSz="865188" eaLnBrk="0" hangingPunct="0">
              <a:buFont typeface="Wingdings" pitchFamily="2" charset="2"/>
              <a:buNone/>
            </a:pPr>
            <a:r>
              <a:rPr lang="en-US" sz="1000" b="0" dirty="0" smtClean="0">
                <a:solidFill>
                  <a:srgbClr val="000000"/>
                </a:solidFill>
              </a:rPr>
              <a:t>Steering </a:t>
            </a:r>
            <a:r>
              <a:rPr lang="en-US" sz="1000" b="0" dirty="0">
                <a:solidFill>
                  <a:srgbClr val="000000"/>
                </a:solidFill>
              </a:rPr>
              <a:t>Committee </a:t>
            </a:r>
            <a:r>
              <a:rPr lang="en-US" sz="1000" b="0" dirty="0" smtClean="0">
                <a:solidFill>
                  <a:srgbClr val="000000"/>
                </a:solidFill>
              </a:rPr>
              <a:t>Members</a:t>
            </a:r>
          </a:p>
          <a:p>
            <a:pPr algn="r" defTabSz="865188" eaLnBrk="0" hangingPunct="0">
              <a:buFont typeface="Wingdings" pitchFamily="2" charset="2"/>
              <a:buNone/>
            </a:pPr>
            <a:r>
              <a:rPr lang="en-US" sz="1000" dirty="0" smtClean="0">
                <a:solidFill>
                  <a:srgbClr val="000000"/>
                </a:solidFill>
              </a:rPr>
              <a:t>Trustees</a:t>
            </a:r>
            <a:endParaRPr lang="en-US" sz="1000" b="0" dirty="0">
              <a:solidFill>
                <a:srgbClr val="000000"/>
              </a:solidFill>
            </a:endParaRPr>
          </a:p>
        </p:txBody>
      </p:sp>
      <p:sp>
        <p:nvSpPr>
          <p:cNvPr id="57351" name="Line 10"/>
          <p:cNvSpPr>
            <a:spLocks noChangeShapeType="1"/>
          </p:cNvSpPr>
          <p:nvPr/>
        </p:nvSpPr>
        <p:spPr bwMode="auto">
          <a:xfrm rot="1942893" flipV="1">
            <a:off x="2714435" y="2370383"/>
            <a:ext cx="755361" cy="336558"/>
          </a:xfrm>
          <a:prstGeom prst="line">
            <a:avLst/>
          </a:prstGeom>
          <a:noFill/>
          <a:ln w="12700">
            <a:solidFill>
              <a:schemeClr val="tx1"/>
            </a:solidFill>
            <a:round/>
            <a:headEnd/>
            <a:tailEnd type="oval" w="lg" len="lg"/>
          </a:ln>
        </p:spPr>
        <p:txBody>
          <a:bodyPr wrap="none" lIns="0" tIns="0" rIns="0" bIns="0" anchor="ctr"/>
          <a:lstStyle/>
          <a:p>
            <a:endParaRPr lang="en-US" dirty="0"/>
          </a:p>
        </p:txBody>
      </p:sp>
      <p:sp>
        <p:nvSpPr>
          <p:cNvPr id="57352" name="Line 11"/>
          <p:cNvSpPr>
            <a:spLocks noChangeShapeType="1"/>
          </p:cNvSpPr>
          <p:nvPr/>
        </p:nvSpPr>
        <p:spPr bwMode="auto">
          <a:xfrm rot="19829">
            <a:off x="5870551" y="4526444"/>
            <a:ext cx="892057" cy="295648"/>
          </a:xfrm>
          <a:prstGeom prst="line">
            <a:avLst/>
          </a:prstGeom>
          <a:noFill/>
          <a:ln w="12700">
            <a:solidFill>
              <a:schemeClr val="tx1"/>
            </a:solidFill>
            <a:round/>
            <a:headEnd type="oval" w="lg" len="lg"/>
            <a:tailEnd type="none" w="lg" len="lg"/>
          </a:ln>
        </p:spPr>
        <p:txBody>
          <a:bodyPr wrap="none" lIns="0" tIns="0" rIns="0" bIns="0" anchor="ctr"/>
          <a:lstStyle/>
          <a:p>
            <a:endParaRPr lang="en-US" dirty="0"/>
          </a:p>
        </p:txBody>
      </p:sp>
      <p:sp>
        <p:nvSpPr>
          <p:cNvPr id="57353" name="Line 12"/>
          <p:cNvSpPr>
            <a:spLocks noChangeShapeType="1"/>
          </p:cNvSpPr>
          <p:nvPr/>
        </p:nvSpPr>
        <p:spPr bwMode="auto">
          <a:xfrm rot="80306" flipV="1">
            <a:off x="2675037" y="4516051"/>
            <a:ext cx="665716" cy="352530"/>
          </a:xfrm>
          <a:prstGeom prst="line">
            <a:avLst/>
          </a:prstGeom>
          <a:noFill/>
          <a:ln w="12700">
            <a:solidFill>
              <a:schemeClr val="tx1"/>
            </a:solidFill>
            <a:round/>
            <a:headEnd/>
            <a:tailEnd type="oval" w="lg" len="lg"/>
          </a:ln>
        </p:spPr>
        <p:txBody>
          <a:bodyPr wrap="none" lIns="0" tIns="0" rIns="0" bIns="0" anchor="ctr"/>
          <a:lstStyle/>
          <a:p>
            <a:endParaRPr lang="en-US" dirty="0"/>
          </a:p>
        </p:txBody>
      </p:sp>
      <p:pic>
        <p:nvPicPr>
          <p:cNvPr id="57354" name="Picture 13" descr="indirect costs_gray"/>
          <p:cNvPicPr>
            <a:picLocks noChangeAspect="1" noChangeArrowheads="1"/>
          </p:cNvPicPr>
          <p:nvPr/>
        </p:nvPicPr>
        <p:blipFill>
          <a:blip r:embed="rId3" cstate="print"/>
          <a:srcRect/>
          <a:stretch>
            <a:fillRect/>
          </a:stretch>
        </p:blipFill>
        <p:spPr bwMode="auto">
          <a:xfrm>
            <a:off x="4271298" y="2311177"/>
            <a:ext cx="869950" cy="508000"/>
          </a:xfrm>
          <a:prstGeom prst="rect">
            <a:avLst/>
          </a:prstGeom>
          <a:noFill/>
          <a:ln w="9525">
            <a:noFill/>
            <a:miter lim="800000"/>
            <a:headEnd/>
            <a:tailEnd/>
          </a:ln>
        </p:spPr>
      </p:pic>
      <p:pic>
        <p:nvPicPr>
          <p:cNvPr id="57355" name="Picture 14" descr="personnel_gray"/>
          <p:cNvPicPr>
            <a:picLocks noChangeAspect="1" noChangeArrowheads="1"/>
          </p:cNvPicPr>
          <p:nvPr/>
        </p:nvPicPr>
        <p:blipFill>
          <a:blip r:embed="rId4" cstate="print"/>
          <a:srcRect/>
          <a:stretch>
            <a:fillRect/>
          </a:stretch>
        </p:blipFill>
        <p:spPr bwMode="auto">
          <a:xfrm>
            <a:off x="3589893" y="3840236"/>
            <a:ext cx="717550" cy="727075"/>
          </a:xfrm>
          <a:prstGeom prst="rect">
            <a:avLst/>
          </a:prstGeom>
          <a:noFill/>
          <a:ln w="9525">
            <a:noFill/>
            <a:miter lim="800000"/>
            <a:headEnd/>
            <a:tailEnd/>
          </a:ln>
        </p:spPr>
      </p:pic>
      <p:pic>
        <p:nvPicPr>
          <p:cNvPr id="57356" name="Picture 15" descr="personnel_gray"/>
          <p:cNvPicPr>
            <a:picLocks noChangeAspect="1" noChangeArrowheads="1"/>
          </p:cNvPicPr>
          <p:nvPr/>
        </p:nvPicPr>
        <p:blipFill>
          <a:blip r:embed="rId4" cstate="print"/>
          <a:srcRect/>
          <a:stretch>
            <a:fillRect/>
          </a:stretch>
        </p:blipFill>
        <p:spPr bwMode="auto">
          <a:xfrm>
            <a:off x="4977316" y="3845593"/>
            <a:ext cx="717550" cy="727075"/>
          </a:xfrm>
          <a:prstGeom prst="rect">
            <a:avLst/>
          </a:prstGeom>
          <a:noFill/>
          <a:ln w="9525">
            <a:noFill/>
            <a:miter lim="800000"/>
            <a:headEnd/>
            <a:tailEnd/>
          </a:ln>
        </p:spPr>
      </p:pic>
      <p:sp>
        <p:nvSpPr>
          <p:cNvPr id="57357" name="Rectangle 17"/>
          <p:cNvSpPr>
            <a:spLocks noChangeArrowheads="1"/>
          </p:cNvSpPr>
          <p:nvPr/>
        </p:nvSpPr>
        <p:spPr bwMode="auto">
          <a:xfrm>
            <a:off x="6821905" y="1185110"/>
            <a:ext cx="1876927" cy="2149442"/>
          </a:xfrm>
          <a:prstGeom prst="rect">
            <a:avLst/>
          </a:prstGeom>
          <a:gradFill>
            <a:gsLst>
              <a:gs pos="0">
                <a:srgbClr val="FFEFD1"/>
              </a:gs>
              <a:gs pos="64999">
                <a:srgbClr val="F0EBD5"/>
              </a:gs>
              <a:gs pos="100000">
                <a:srgbClr val="D1C39F"/>
              </a:gs>
            </a:gsLst>
            <a:lin ang="16200000" scaled="0"/>
          </a:gradFill>
          <a:ln w="9525">
            <a:noFill/>
            <a:miter lim="800000"/>
            <a:headEnd/>
            <a:tailEnd/>
          </a:ln>
        </p:spPr>
        <p:txBody>
          <a:bodyPr wrap="square" lIns="86493" tIns="43247" rIns="86493" bIns="43247">
            <a:spAutoFit/>
          </a:bodyPr>
          <a:lstStyle/>
          <a:p>
            <a:pPr defTabSz="865188" eaLnBrk="0" hangingPunct="0">
              <a:buFont typeface="Wingdings" pitchFamily="2" charset="2"/>
              <a:buNone/>
            </a:pPr>
            <a:r>
              <a:rPr lang="en-US" sz="1300" b="1" dirty="0" smtClean="0">
                <a:solidFill>
                  <a:schemeClr val="accent1"/>
                </a:solidFill>
              </a:rPr>
              <a:t>College Representatives</a:t>
            </a:r>
            <a:endParaRPr lang="en-US" sz="1300" b="1" dirty="0">
              <a:solidFill>
                <a:schemeClr val="accent1"/>
              </a:solidFill>
            </a:endParaRPr>
          </a:p>
          <a:p>
            <a:pPr defTabSz="865188" eaLnBrk="0" hangingPunct="0"/>
            <a:r>
              <a:rPr lang="en-US" sz="1100" b="0" dirty="0" smtClean="0">
                <a:solidFill>
                  <a:srgbClr val="000000"/>
                </a:solidFill>
              </a:rPr>
              <a:t> </a:t>
            </a:r>
            <a:r>
              <a:rPr lang="en-US" sz="1000" b="0" dirty="0" smtClean="0">
                <a:solidFill>
                  <a:srgbClr val="000000"/>
                </a:solidFill>
              </a:rPr>
              <a:t>Functional</a:t>
            </a:r>
          </a:p>
          <a:p>
            <a:pPr defTabSz="865188" eaLnBrk="0" hangingPunct="0"/>
            <a:r>
              <a:rPr lang="en-US" sz="1000" b="0" dirty="0" smtClean="0">
                <a:solidFill>
                  <a:srgbClr val="000000"/>
                </a:solidFill>
              </a:rPr>
              <a:t>Curriculum</a:t>
            </a:r>
          </a:p>
          <a:p>
            <a:pPr defTabSz="865188" eaLnBrk="0" hangingPunct="0">
              <a:buFont typeface="Wingdings" pitchFamily="2" charset="2"/>
              <a:buNone/>
            </a:pPr>
            <a:r>
              <a:rPr lang="en-US" sz="1000" b="0" dirty="0" smtClean="0">
                <a:solidFill>
                  <a:srgbClr val="000000"/>
                </a:solidFill>
              </a:rPr>
              <a:t>Faculty</a:t>
            </a:r>
          </a:p>
          <a:p>
            <a:pPr defTabSz="865188" eaLnBrk="0" hangingPunct="0">
              <a:buFont typeface="Wingdings" pitchFamily="2" charset="2"/>
              <a:buNone/>
            </a:pPr>
            <a:r>
              <a:rPr lang="en-US" sz="1000" b="0" dirty="0" smtClean="0">
                <a:solidFill>
                  <a:srgbClr val="000000"/>
                </a:solidFill>
              </a:rPr>
              <a:t>Academic Advising</a:t>
            </a:r>
          </a:p>
          <a:p>
            <a:pPr defTabSz="865188" eaLnBrk="0" hangingPunct="0"/>
            <a:r>
              <a:rPr lang="en-US" sz="1000" b="0" dirty="0" smtClean="0">
                <a:solidFill>
                  <a:srgbClr val="000000"/>
                </a:solidFill>
              </a:rPr>
              <a:t>Process</a:t>
            </a:r>
          </a:p>
          <a:p>
            <a:pPr defTabSz="865188" eaLnBrk="0" hangingPunct="0">
              <a:buFont typeface="Wingdings" pitchFamily="2" charset="2"/>
              <a:buNone/>
            </a:pPr>
            <a:r>
              <a:rPr lang="en-US" sz="1000" b="0" dirty="0" smtClean="0">
                <a:solidFill>
                  <a:srgbClr val="000000"/>
                </a:solidFill>
              </a:rPr>
              <a:t>Organizational </a:t>
            </a:r>
            <a:r>
              <a:rPr lang="en-US" sz="1000" b="0" dirty="0">
                <a:solidFill>
                  <a:srgbClr val="000000"/>
                </a:solidFill>
              </a:rPr>
              <a:t>Change </a:t>
            </a:r>
            <a:r>
              <a:rPr lang="en-US" sz="1000" b="0" dirty="0" smtClean="0">
                <a:solidFill>
                  <a:srgbClr val="000000"/>
                </a:solidFill>
              </a:rPr>
              <a:t>Mgmt</a:t>
            </a:r>
            <a:endParaRPr lang="en-US" sz="1000" b="0" dirty="0">
              <a:solidFill>
                <a:srgbClr val="000000"/>
              </a:solidFill>
            </a:endParaRPr>
          </a:p>
          <a:p>
            <a:pPr algn="ctr" defTabSz="865188" eaLnBrk="0" hangingPunct="0">
              <a:buFont typeface="Wingdings" pitchFamily="2" charset="2"/>
              <a:buChar char="ü"/>
            </a:pPr>
            <a:endParaRPr lang="en-US" sz="1100" b="0" dirty="0">
              <a:solidFill>
                <a:srgbClr val="000000"/>
              </a:solidFill>
            </a:endParaRPr>
          </a:p>
        </p:txBody>
      </p:sp>
      <p:sp>
        <p:nvSpPr>
          <p:cNvPr id="57358" name="Line 18"/>
          <p:cNvSpPr>
            <a:spLocks noChangeShapeType="1"/>
          </p:cNvSpPr>
          <p:nvPr/>
        </p:nvSpPr>
        <p:spPr bwMode="auto">
          <a:xfrm rot="9285786">
            <a:off x="5800355" y="2395629"/>
            <a:ext cx="948225" cy="274034"/>
          </a:xfrm>
          <a:prstGeom prst="line">
            <a:avLst/>
          </a:prstGeom>
          <a:noFill/>
          <a:ln w="12700">
            <a:solidFill>
              <a:schemeClr val="tx1"/>
            </a:solidFill>
            <a:round/>
            <a:headEnd/>
            <a:tailEnd type="oval" w="lg" len="lg"/>
          </a:ln>
        </p:spPr>
        <p:txBody>
          <a:bodyPr wrap="none" lIns="0" tIns="0" rIns="0" bIns="0" anchor="ctr"/>
          <a:lstStyle/>
          <a:p>
            <a:endParaRPr lang="en-US" dirty="0"/>
          </a:p>
        </p:txBody>
      </p:sp>
      <p:sp>
        <p:nvSpPr>
          <p:cNvPr id="57359" name="Rectangle 19"/>
          <p:cNvSpPr>
            <a:spLocks noChangeArrowheads="1"/>
          </p:cNvSpPr>
          <p:nvPr/>
        </p:nvSpPr>
        <p:spPr bwMode="auto">
          <a:xfrm>
            <a:off x="6809873" y="4158942"/>
            <a:ext cx="1852863" cy="1441556"/>
          </a:xfrm>
          <a:prstGeom prst="rect">
            <a:avLst/>
          </a:prstGeom>
          <a:gradFill>
            <a:gsLst>
              <a:gs pos="0">
                <a:srgbClr val="FFEFD1"/>
              </a:gs>
              <a:gs pos="64999">
                <a:srgbClr val="F0EBD5"/>
              </a:gs>
              <a:gs pos="100000">
                <a:srgbClr val="D1C39F"/>
              </a:gs>
            </a:gsLst>
            <a:lin ang="16200000" scaled="0"/>
          </a:gradFill>
          <a:ln w="9525">
            <a:noFill/>
            <a:miter lim="800000"/>
            <a:headEnd/>
            <a:tailEnd/>
          </a:ln>
        </p:spPr>
        <p:txBody>
          <a:bodyPr wrap="square" lIns="86493" tIns="43247" rIns="86493" bIns="43247">
            <a:spAutoFit/>
          </a:bodyPr>
          <a:lstStyle/>
          <a:p>
            <a:pPr defTabSz="865188" eaLnBrk="0" hangingPunct="0"/>
            <a:r>
              <a:rPr lang="en-US" sz="1300" b="1" dirty="0" smtClean="0">
                <a:solidFill>
                  <a:schemeClr val="accent1"/>
                </a:solidFill>
              </a:rPr>
              <a:t>Technical Experts</a:t>
            </a:r>
            <a:endParaRPr lang="en-US" sz="1300" b="1" dirty="0">
              <a:solidFill>
                <a:schemeClr val="accent1"/>
              </a:solidFill>
            </a:endParaRPr>
          </a:p>
          <a:p>
            <a:pPr defTabSz="865188" eaLnBrk="0" hangingPunct="0">
              <a:buFont typeface="Wingdings" pitchFamily="2" charset="2"/>
              <a:buNone/>
            </a:pPr>
            <a:r>
              <a:rPr lang="en-US" sz="1000" b="0" dirty="0" smtClean="0">
                <a:solidFill>
                  <a:srgbClr val="000000"/>
                </a:solidFill>
              </a:rPr>
              <a:t>Architecture</a:t>
            </a:r>
          </a:p>
          <a:p>
            <a:pPr defTabSz="865188" eaLnBrk="0" hangingPunct="0">
              <a:buFont typeface="Wingdings" pitchFamily="2" charset="2"/>
              <a:buNone/>
            </a:pPr>
            <a:r>
              <a:rPr lang="en-US" sz="1000" b="0" dirty="0" smtClean="0">
                <a:solidFill>
                  <a:srgbClr val="000000"/>
                </a:solidFill>
              </a:rPr>
              <a:t>Development</a:t>
            </a:r>
            <a:endParaRPr lang="en-US" sz="1000" b="0" dirty="0">
              <a:solidFill>
                <a:srgbClr val="000000"/>
              </a:solidFill>
            </a:endParaRPr>
          </a:p>
          <a:p>
            <a:pPr defTabSz="865188" eaLnBrk="0" hangingPunct="0">
              <a:buFont typeface="Wingdings" pitchFamily="2" charset="2"/>
              <a:buNone/>
            </a:pPr>
            <a:r>
              <a:rPr lang="en-US" sz="1000" b="0" dirty="0">
                <a:solidFill>
                  <a:srgbClr val="000000"/>
                </a:solidFill>
              </a:rPr>
              <a:t> Data </a:t>
            </a:r>
            <a:r>
              <a:rPr lang="en-US" sz="1000" b="0" dirty="0" smtClean="0">
                <a:solidFill>
                  <a:srgbClr val="000000"/>
                </a:solidFill>
              </a:rPr>
              <a:t>Migration &amp;  </a:t>
            </a:r>
            <a:r>
              <a:rPr lang="en-US" sz="1000" b="0" dirty="0">
                <a:solidFill>
                  <a:srgbClr val="000000"/>
                </a:solidFill>
              </a:rPr>
              <a:t>Integration</a:t>
            </a:r>
          </a:p>
          <a:p>
            <a:pPr defTabSz="865188" eaLnBrk="0" hangingPunct="0">
              <a:buFont typeface="Wingdings" pitchFamily="2" charset="2"/>
              <a:buNone/>
            </a:pPr>
            <a:r>
              <a:rPr lang="en-US" sz="1000" b="0" dirty="0" smtClean="0">
                <a:solidFill>
                  <a:srgbClr val="000000"/>
                </a:solidFill>
              </a:rPr>
              <a:t> </a:t>
            </a:r>
            <a:r>
              <a:rPr lang="en-US" sz="1000" b="0" dirty="0">
                <a:solidFill>
                  <a:srgbClr val="000000"/>
                </a:solidFill>
              </a:rPr>
              <a:t>Security</a:t>
            </a:r>
          </a:p>
          <a:p>
            <a:pPr defTabSz="865188" eaLnBrk="0" hangingPunct="0">
              <a:buFont typeface="Wingdings" pitchFamily="2" charset="2"/>
              <a:buNone/>
            </a:pPr>
            <a:r>
              <a:rPr lang="en-US" sz="1000" b="0" dirty="0">
                <a:solidFill>
                  <a:srgbClr val="000000"/>
                </a:solidFill>
              </a:rPr>
              <a:t> IT </a:t>
            </a:r>
            <a:r>
              <a:rPr lang="en-US" sz="1000" b="0" dirty="0" smtClean="0">
                <a:solidFill>
                  <a:srgbClr val="000000"/>
                </a:solidFill>
              </a:rPr>
              <a:t>Operations</a:t>
            </a:r>
            <a:endParaRPr lang="en-US" sz="1000" b="0" dirty="0">
              <a:solidFill>
                <a:srgbClr val="000000"/>
              </a:solidFill>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sz="quarter"/>
          </p:nvPr>
        </p:nvSpPr>
        <p:spPr/>
        <p:txBody>
          <a:bodyPr/>
          <a:lstStyle/>
          <a:p>
            <a:r>
              <a:rPr lang="en-US" dirty="0" smtClean="0"/>
              <a:t>What is the role of College Presidents?</a:t>
            </a:r>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idx="1"/>
          </p:nvPr>
        </p:nvSpPr>
        <p:spPr/>
        <p:txBody>
          <a:bodyPr/>
          <a:lstStyle/>
          <a:p>
            <a:pPr lvl="0"/>
            <a:r>
              <a:rPr lang="en-US" dirty="0"/>
              <a:t>What will an ERP provide?</a:t>
            </a:r>
          </a:p>
          <a:p>
            <a:pPr lvl="0"/>
            <a:r>
              <a:rPr lang="en-US" dirty="0"/>
              <a:t>What won’t it do?</a:t>
            </a:r>
          </a:p>
          <a:p>
            <a:pPr lvl="0"/>
            <a:r>
              <a:rPr lang="en-US" dirty="0"/>
              <a:t>What are the benefits we can expect?</a:t>
            </a:r>
          </a:p>
          <a:p>
            <a:pPr lvl="0"/>
            <a:r>
              <a:rPr lang="en-US" dirty="0"/>
              <a:t>What can colleges expect?</a:t>
            </a:r>
          </a:p>
          <a:p>
            <a:pPr lvl="0"/>
            <a:r>
              <a:rPr lang="en-US" dirty="0"/>
              <a:t>What is the role of the President?</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What is the role of the President?</a:t>
            </a:r>
            <a:endParaRPr lang="en-US" dirty="0"/>
          </a:p>
        </p:txBody>
      </p:sp>
      <p:sp>
        <p:nvSpPr>
          <p:cNvPr id="3" name="Content Placeholder 2"/>
          <p:cNvSpPr>
            <a:spLocks noGrp="1"/>
          </p:cNvSpPr>
          <p:nvPr>
            <p:ph idx="1"/>
          </p:nvPr>
        </p:nvSpPr>
        <p:spPr/>
        <p:txBody>
          <a:bodyPr/>
          <a:lstStyle/>
          <a:p>
            <a:pPr>
              <a:buBlip>
                <a:blip r:embed="rId2"/>
              </a:buBlip>
            </a:pPr>
            <a:r>
              <a:rPr lang="en-US" dirty="0"/>
              <a:t>Executive champions within the respective </a:t>
            </a:r>
            <a:r>
              <a:rPr lang="en-US" dirty="0" smtClean="0"/>
              <a:t>colleges</a:t>
            </a:r>
            <a:endParaRPr lang="en-US" dirty="0"/>
          </a:p>
          <a:p>
            <a:pPr>
              <a:buBlip>
                <a:blip r:embed="rId2"/>
              </a:buBlip>
            </a:pPr>
            <a:r>
              <a:rPr lang="en-US" dirty="0" smtClean="0"/>
              <a:t>Facilitate communications throughout </a:t>
            </a:r>
            <a:r>
              <a:rPr lang="en-US" dirty="0"/>
              <a:t>the </a:t>
            </a:r>
            <a:r>
              <a:rPr lang="en-US" dirty="0" smtClean="0"/>
              <a:t>college to trustees, students, faculty and staff</a:t>
            </a:r>
            <a:endParaRPr lang="en-US" dirty="0"/>
          </a:p>
          <a:p>
            <a:pPr>
              <a:buBlip>
                <a:blip r:embed="rId2"/>
              </a:buBlip>
            </a:pPr>
            <a:r>
              <a:rPr lang="en-US" dirty="0" smtClean="0"/>
              <a:t>Support decision-making </a:t>
            </a:r>
            <a:r>
              <a:rPr lang="en-US" dirty="0"/>
              <a:t>with respect to implementation approach, best practice adoption, training, etc</a:t>
            </a:r>
            <a:r>
              <a:rPr lang="en-US" dirty="0" smtClean="0"/>
              <a:t>.</a:t>
            </a:r>
            <a:endParaRPr lang="en-US" dirty="0"/>
          </a:p>
          <a:p>
            <a:pPr>
              <a:buBlip>
                <a:blip r:embed="rId2"/>
              </a:buBlip>
            </a:pPr>
            <a:r>
              <a:rPr lang="en-US" dirty="0"/>
              <a:t>Collaborate with other colleges to achieve common processes, implement best practices and enable “board-wide” reporting and </a:t>
            </a:r>
            <a:r>
              <a:rPr lang="en-US" dirty="0" smtClean="0"/>
              <a:t>analysis</a:t>
            </a:r>
            <a:endParaRPr lang="en-US" dirty="0"/>
          </a:p>
          <a:p>
            <a:pPr>
              <a:buBlip>
                <a:blip r:embed="rId2"/>
              </a:buBlip>
            </a:pPr>
            <a:r>
              <a:rPr lang="en-US" dirty="0"/>
              <a:t>Appoint delegates to project steering committees, and implementation teams where </a:t>
            </a:r>
            <a:r>
              <a:rPr lang="en-US" dirty="0" smtClean="0"/>
              <a:t>appropriate</a:t>
            </a:r>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sz="quarter"/>
          </p:nvPr>
        </p:nvSpPr>
        <p:spPr/>
        <p:txBody>
          <a:bodyPr/>
          <a:lstStyle/>
          <a:p>
            <a:r>
              <a:rPr lang="en-US" dirty="0" smtClean="0"/>
              <a:t>What will an ERP provide?</a:t>
            </a:r>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8578" name="Rectangle 2"/>
          <p:cNvSpPr>
            <a:spLocks noGrp="1" noChangeArrowheads="1"/>
          </p:cNvSpPr>
          <p:nvPr>
            <p:ph type="title"/>
          </p:nvPr>
        </p:nvSpPr>
        <p:spPr/>
        <p:txBody>
          <a:bodyPr/>
          <a:lstStyle/>
          <a:p>
            <a:r>
              <a:rPr lang="en-US" sz="2000" dirty="0"/>
              <a:t/>
            </a:r>
            <a:br>
              <a:rPr lang="en-US" sz="2000" dirty="0"/>
            </a:br>
            <a:r>
              <a:rPr lang="en-US" sz="2000" b="0" dirty="0" smtClean="0"/>
              <a:t>What will an ERP Provide?</a:t>
            </a:r>
            <a:endParaRPr lang="en-US" sz="2000" b="0" dirty="0"/>
          </a:p>
        </p:txBody>
      </p:sp>
      <p:graphicFrame>
        <p:nvGraphicFramePr>
          <p:cNvPr id="13" name="Diagram 12"/>
          <p:cNvGraphicFramePr/>
          <p:nvPr/>
        </p:nvGraphicFramePr>
        <p:xfrm>
          <a:off x="910389" y="1288715"/>
          <a:ext cx="6681537" cy="45586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7463" y="348044"/>
            <a:ext cx="8203565" cy="663574"/>
          </a:xfrm>
        </p:spPr>
        <p:txBody>
          <a:bodyPr/>
          <a:lstStyle/>
          <a:p>
            <a:r>
              <a:rPr lang="en-US" dirty="0" smtClean="0"/>
              <a:t>What will an ERP provide?</a:t>
            </a:r>
            <a:endParaRPr lang="en-US" dirty="0"/>
          </a:p>
        </p:txBody>
      </p:sp>
      <p:graphicFrame>
        <p:nvGraphicFramePr>
          <p:cNvPr id="186" name="Diagram 185"/>
          <p:cNvGraphicFramePr/>
          <p:nvPr/>
        </p:nvGraphicFramePr>
        <p:xfrm>
          <a:off x="1355557" y="1515979"/>
          <a:ext cx="6096000" cy="42819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4770" name="Rectangle 2"/>
          <p:cNvSpPr>
            <a:spLocks noGrp="1" noChangeArrowheads="1"/>
          </p:cNvSpPr>
          <p:nvPr>
            <p:ph type="title"/>
          </p:nvPr>
        </p:nvSpPr>
        <p:spPr/>
        <p:txBody>
          <a:bodyPr/>
          <a:lstStyle/>
          <a:p>
            <a:r>
              <a:rPr lang="en-US" dirty="0" smtClean="0"/>
              <a:t>The World as we have known it</a:t>
            </a:r>
            <a:endParaRPr lang="en-US" dirty="0"/>
          </a:p>
        </p:txBody>
      </p:sp>
      <p:grpSp>
        <p:nvGrpSpPr>
          <p:cNvPr id="10" name="Group 9"/>
          <p:cNvGrpSpPr/>
          <p:nvPr/>
        </p:nvGrpSpPr>
        <p:grpSpPr>
          <a:xfrm>
            <a:off x="1511642" y="1163992"/>
            <a:ext cx="6096000" cy="4334113"/>
            <a:chOff x="1511642" y="1163992"/>
            <a:chExt cx="6096000" cy="5218949"/>
          </a:xfrm>
        </p:grpSpPr>
        <p:sp>
          <p:nvSpPr>
            <p:cNvPr id="11" name="Freeform 10"/>
            <p:cNvSpPr/>
            <p:nvPr/>
          </p:nvSpPr>
          <p:spPr>
            <a:xfrm>
              <a:off x="1511642" y="3533436"/>
              <a:ext cx="6096000" cy="676713"/>
            </a:xfrm>
            <a:custGeom>
              <a:avLst/>
              <a:gdLst>
                <a:gd name="connsiteX0" fmla="*/ 0 w 6096000"/>
                <a:gd name="connsiteY0" fmla="*/ 0 h 1555774"/>
                <a:gd name="connsiteX1" fmla="*/ 6096000 w 6096000"/>
                <a:gd name="connsiteY1" fmla="*/ 0 h 1555774"/>
                <a:gd name="connsiteX2" fmla="*/ 6096000 w 6096000"/>
                <a:gd name="connsiteY2" fmla="*/ 1555774 h 1555774"/>
                <a:gd name="connsiteX3" fmla="*/ 0 w 6096000"/>
                <a:gd name="connsiteY3" fmla="*/ 1555774 h 1555774"/>
                <a:gd name="connsiteX4" fmla="*/ 0 w 6096000"/>
                <a:gd name="connsiteY4" fmla="*/ 0 h 1555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1555774">
                  <a:moveTo>
                    <a:pt x="0" y="0"/>
                  </a:moveTo>
                  <a:lnTo>
                    <a:pt x="6096000" y="0"/>
                  </a:lnTo>
                  <a:lnTo>
                    <a:pt x="6096000" y="1555774"/>
                  </a:lnTo>
                  <a:lnTo>
                    <a:pt x="0" y="1555774"/>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13360" tIns="213360" rIns="213360" bIns="929016" numCol="1" spcCol="1270" anchor="ctr" anchorCtr="0">
              <a:noAutofit/>
            </a:bodyPr>
            <a:lstStyle/>
            <a:p>
              <a:pPr lvl="0" algn="ctr" defTabSz="1333500">
                <a:lnSpc>
                  <a:spcPct val="90000"/>
                </a:lnSpc>
                <a:spcBef>
                  <a:spcPct val="0"/>
                </a:spcBef>
                <a:spcAft>
                  <a:spcPct val="35000"/>
                </a:spcAft>
              </a:pPr>
              <a:endParaRPr lang="en-US" kern="1200" dirty="0"/>
            </a:p>
          </p:txBody>
        </p:sp>
        <p:sp>
          <p:nvSpPr>
            <p:cNvPr id="12" name="Freeform 11"/>
            <p:cNvSpPr/>
            <p:nvPr/>
          </p:nvSpPr>
          <p:spPr>
            <a:xfrm>
              <a:off x="1547736" y="4210541"/>
              <a:ext cx="6032158" cy="2172400"/>
            </a:xfrm>
            <a:custGeom>
              <a:avLst/>
              <a:gdLst>
                <a:gd name="connsiteX0" fmla="*/ 0 w 6096000"/>
                <a:gd name="connsiteY0" fmla="*/ 0 h 715656"/>
                <a:gd name="connsiteX1" fmla="*/ 6096000 w 6096000"/>
                <a:gd name="connsiteY1" fmla="*/ 0 h 715656"/>
                <a:gd name="connsiteX2" fmla="*/ 6096000 w 6096000"/>
                <a:gd name="connsiteY2" fmla="*/ 715656 h 715656"/>
                <a:gd name="connsiteX3" fmla="*/ 0 w 6096000"/>
                <a:gd name="connsiteY3" fmla="*/ 715656 h 715656"/>
                <a:gd name="connsiteX4" fmla="*/ 0 w 6096000"/>
                <a:gd name="connsiteY4" fmla="*/ 0 h 7156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715656">
                  <a:moveTo>
                    <a:pt x="0" y="0"/>
                  </a:moveTo>
                  <a:lnTo>
                    <a:pt x="6096000" y="0"/>
                  </a:lnTo>
                  <a:lnTo>
                    <a:pt x="6096000" y="715656"/>
                  </a:lnTo>
                  <a:lnTo>
                    <a:pt x="0" y="715656"/>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8016" tIns="22860" rIns="128016" bIns="22860" numCol="1" spcCol="1270" anchor="ctr" anchorCtr="0">
              <a:noAutofit/>
            </a:bodyPr>
            <a:lstStyle/>
            <a:p>
              <a:pPr lvl="0" algn="ctr" defTabSz="800100">
                <a:lnSpc>
                  <a:spcPct val="90000"/>
                </a:lnSpc>
                <a:spcBef>
                  <a:spcPct val="0"/>
                </a:spcBef>
                <a:spcAft>
                  <a:spcPct val="35000"/>
                </a:spcAft>
              </a:pPr>
              <a:endParaRPr lang="en-US" sz="1800" kern="1200" dirty="0" smtClean="0"/>
            </a:p>
            <a:p>
              <a:pPr lvl="0" algn="ctr" defTabSz="800100">
                <a:lnSpc>
                  <a:spcPct val="90000"/>
                </a:lnSpc>
                <a:spcBef>
                  <a:spcPct val="0"/>
                </a:spcBef>
                <a:spcAft>
                  <a:spcPct val="35000"/>
                </a:spcAft>
              </a:pPr>
              <a:r>
                <a:rPr lang="en-US" sz="1800" kern="1200" dirty="0" smtClean="0"/>
                <a:t>Cross functional processes(internal &amp; external)</a:t>
              </a:r>
            </a:p>
            <a:p>
              <a:pPr lvl="0" algn="ctr" defTabSz="800100">
                <a:lnSpc>
                  <a:spcPct val="90000"/>
                </a:lnSpc>
                <a:spcBef>
                  <a:spcPct val="0"/>
                </a:spcBef>
                <a:spcAft>
                  <a:spcPct val="35000"/>
                </a:spcAft>
              </a:pPr>
              <a:r>
                <a:rPr lang="en-US" sz="1800" kern="1200" dirty="0" smtClean="0"/>
                <a:t>End-to-end process support</a:t>
              </a:r>
            </a:p>
            <a:p>
              <a:pPr lvl="0" algn="ctr" defTabSz="800100">
                <a:lnSpc>
                  <a:spcPct val="90000"/>
                </a:lnSpc>
                <a:spcBef>
                  <a:spcPct val="0"/>
                </a:spcBef>
                <a:spcAft>
                  <a:spcPct val="35000"/>
                </a:spcAft>
              </a:pPr>
              <a:r>
                <a:rPr lang="en-US" sz="1800" kern="1200" dirty="0" smtClean="0"/>
                <a:t>All content types</a:t>
              </a:r>
            </a:p>
            <a:p>
              <a:pPr lvl="0" algn="ctr" defTabSz="800100">
                <a:lnSpc>
                  <a:spcPct val="90000"/>
                </a:lnSpc>
                <a:spcBef>
                  <a:spcPct val="0"/>
                </a:spcBef>
                <a:spcAft>
                  <a:spcPct val="35000"/>
                </a:spcAft>
              </a:pPr>
              <a:r>
                <a:rPr lang="en-US" sz="1800" kern="1200" dirty="0" smtClean="0"/>
                <a:t>Embedded Analytics</a:t>
              </a:r>
            </a:p>
            <a:p>
              <a:pPr lvl="0" algn="ctr" defTabSz="800100">
                <a:lnSpc>
                  <a:spcPct val="90000"/>
                </a:lnSpc>
                <a:spcBef>
                  <a:spcPct val="0"/>
                </a:spcBef>
                <a:spcAft>
                  <a:spcPct val="35000"/>
                </a:spcAft>
              </a:pPr>
              <a:r>
                <a:rPr lang="en-US" sz="1800" kern="1200" dirty="0" smtClean="0"/>
                <a:t>Modular but integrated</a:t>
              </a:r>
            </a:p>
            <a:p>
              <a:pPr lvl="0" algn="ctr" defTabSz="800100">
                <a:lnSpc>
                  <a:spcPct val="90000"/>
                </a:lnSpc>
                <a:spcBef>
                  <a:spcPct val="0"/>
                </a:spcBef>
                <a:spcAft>
                  <a:spcPct val="35000"/>
                </a:spcAft>
              </a:pPr>
              <a:endParaRPr lang="en-US" sz="1800" kern="1200" dirty="0"/>
            </a:p>
          </p:txBody>
        </p:sp>
        <p:sp>
          <p:nvSpPr>
            <p:cNvPr id="13" name="Freeform 12"/>
            <p:cNvSpPr/>
            <p:nvPr/>
          </p:nvSpPr>
          <p:spPr>
            <a:xfrm>
              <a:off x="1511642" y="1163992"/>
              <a:ext cx="6096000" cy="2392783"/>
            </a:xfrm>
            <a:custGeom>
              <a:avLst/>
              <a:gdLst>
                <a:gd name="connsiteX0" fmla="*/ 0 w 6096000"/>
                <a:gd name="connsiteY0" fmla="*/ 838024 h 2392781"/>
                <a:gd name="connsiteX1" fmla="*/ 2748902 w 6096000"/>
                <a:gd name="connsiteY1" fmla="*/ 838024 h 2392781"/>
                <a:gd name="connsiteX2" fmla="*/ 2748902 w 6096000"/>
                <a:gd name="connsiteY2" fmla="*/ 598195 h 2392781"/>
                <a:gd name="connsiteX3" fmla="*/ 2449805 w 6096000"/>
                <a:gd name="connsiteY3" fmla="*/ 598195 h 2392781"/>
                <a:gd name="connsiteX4" fmla="*/ 3048000 w 6096000"/>
                <a:gd name="connsiteY4" fmla="*/ 0 h 2392781"/>
                <a:gd name="connsiteX5" fmla="*/ 3646195 w 6096000"/>
                <a:gd name="connsiteY5" fmla="*/ 598195 h 2392781"/>
                <a:gd name="connsiteX6" fmla="*/ 3347098 w 6096000"/>
                <a:gd name="connsiteY6" fmla="*/ 598195 h 2392781"/>
                <a:gd name="connsiteX7" fmla="*/ 3347098 w 6096000"/>
                <a:gd name="connsiteY7" fmla="*/ 838024 h 2392781"/>
                <a:gd name="connsiteX8" fmla="*/ 6096000 w 6096000"/>
                <a:gd name="connsiteY8" fmla="*/ 838024 h 2392781"/>
                <a:gd name="connsiteX9" fmla="*/ 6096000 w 6096000"/>
                <a:gd name="connsiteY9" fmla="*/ 2392781 h 2392781"/>
                <a:gd name="connsiteX10" fmla="*/ 0 w 6096000"/>
                <a:gd name="connsiteY10" fmla="*/ 2392781 h 2392781"/>
                <a:gd name="connsiteX11" fmla="*/ 0 w 6096000"/>
                <a:gd name="connsiteY11" fmla="*/ 838024 h 2392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0" h="2392781">
                  <a:moveTo>
                    <a:pt x="6096000" y="1554757"/>
                  </a:moveTo>
                  <a:lnTo>
                    <a:pt x="3347098" y="1554757"/>
                  </a:lnTo>
                  <a:lnTo>
                    <a:pt x="3347098" y="1794586"/>
                  </a:lnTo>
                  <a:lnTo>
                    <a:pt x="3646195" y="1794586"/>
                  </a:lnTo>
                  <a:lnTo>
                    <a:pt x="3048000" y="2392780"/>
                  </a:lnTo>
                  <a:lnTo>
                    <a:pt x="2449805" y="1794586"/>
                  </a:lnTo>
                  <a:lnTo>
                    <a:pt x="2748902" y="1794586"/>
                  </a:lnTo>
                  <a:lnTo>
                    <a:pt x="2748902" y="1554757"/>
                  </a:lnTo>
                  <a:lnTo>
                    <a:pt x="0" y="1554757"/>
                  </a:lnTo>
                  <a:lnTo>
                    <a:pt x="0" y="1"/>
                  </a:lnTo>
                  <a:lnTo>
                    <a:pt x="6096000" y="1"/>
                  </a:lnTo>
                  <a:lnTo>
                    <a:pt x="6096000" y="155475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13360" tIns="213361" rIns="213360" bIns="1766276" numCol="1" spcCol="1270" anchor="ctr" anchorCtr="0">
              <a:noAutofit/>
            </a:bodyPr>
            <a:lstStyle/>
            <a:p>
              <a:pPr lvl="0" algn="ctr" defTabSz="1333500">
                <a:lnSpc>
                  <a:spcPct val="90000"/>
                </a:lnSpc>
                <a:spcBef>
                  <a:spcPct val="0"/>
                </a:spcBef>
                <a:spcAft>
                  <a:spcPct val="35000"/>
                </a:spcAft>
              </a:pPr>
              <a:r>
                <a:rPr lang="en-US" kern="1200" dirty="0" smtClean="0"/>
                <a:t>“As Is”</a:t>
              </a:r>
              <a:endParaRPr lang="en-US" kern="1200" dirty="0"/>
            </a:p>
          </p:txBody>
        </p:sp>
        <p:sp>
          <p:nvSpPr>
            <p:cNvPr id="14" name="Freeform 13"/>
            <p:cNvSpPr/>
            <p:nvPr/>
          </p:nvSpPr>
          <p:spPr>
            <a:xfrm>
              <a:off x="1636295" y="1815518"/>
              <a:ext cx="3007567" cy="715441"/>
            </a:xfrm>
            <a:custGeom>
              <a:avLst/>
              <a:gdLst>
                <a:gd name="connsiteX0" fmla="*/ 0 w 3047999"/>
                <a:gd name="connsiteY0" fmla="*/ 0 h 715441"/>
                <a:gd name="connsiteX1" fmla="*/ 3047999 w 3047999"/>
                <a:gd name="connsiteY1" fmla="*/ 0 h 715441"/>
                <a:gd name="connsiteX2" fmla="*/ 3047999 w 3047999"/>
                <a:gd name="connsiteY2" fmla="*/ 715441 h 715441"/>
                <a:gd name="connsiteX3" fmla="*/ 0 w 3047999"/>
                <a:gd name="connsiteY3" fmla="*/ 715441 h 715441"/>
                <a:gd name="connsiteX4" fmla="*/ 0 w 3047999"/>
                <a:gd name="connsiteY4" fmla="*/ 0 h 715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99" h="715441">
                  <a:moveTo>
                    <a:pt x="0" y="0"/>
                  </a:moveTo>
                  <a:lnTo>
                    <a:pt x="3047999" y="0"/>
                  </a:lnTo>
                  <a:lnTo>
                    <a:pt x="3047999" y="715441"/>
                  </a:lnTo>
                  <a:lnTo>
                    <a:pt x="0" y="715441"/>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8016" tIns="22860" rIns="128016" bIns="22860" numCol="1" spcCol="1270" anchor="ctr" anchorCtr="0">
              <a:noAutofit/>
            </a:bodyPr>
            <a:lstStyle/>
            <a:p>
              <a:pPr lvl="0" algn="ctr" defTabSz="800100">
                <a:lnSpc>
                  <a:spcPct val="90000"/>
                </a:lnSpc>
                <a:spcBef>
                  <a:spcPct val="0"/>
                </a:spcBef>
                <a:spcAft>
                  <a:spcPct val="35000"/>
                </a:spcAft>
              </a:pPr>
              <a:r>
                <a:rPr lang="en-US" sz="1600" kern="1200" dirty="0" smtClean="0"/>
                <a:t>Systems targeting discrete business functions</a:t>
              </a:r>
              <a:endParaRPr lang="en-US" sz="1600" kern="1200" dirty="0"/>
            </a:p>
          </p:txBody>
        </p:sp>
        <p:sp>
          <p:nvSpPr>
            <p:cNvPr id="15" name="Freeform 14"/>
            <p:cNvSpPr/>
            <p:nvPr/>
          </p:nvSpPr>
          <p:spPr>
            <a:xfrm>
              <a:off x="4655897" y="1815516"/>
              <a:ext cx="2827745" cy="715441"/>
            </a:xfrm>
            <a:custGeom>
              <a:avLst/>
              <a:gdLst>
                <a:gd name="connsiteX0" fmla="*/ 0 w 3047999"/>
                <a:gd name="connsiteY0" fmla="*/ 0 h 715441"/>
                <a:gd name="connsiteX1" fmla="*/ 3047999 w 3047999"/>
                <a:gd name="connsiteY1" fmla="*/ 0 h 715441"/>
                <a:gd name="connsiteX2" fmla="*/ 3047999 w 3047999"/>
                <a:gd name="connsiteY2" fmla="*/ 715441 h 715441"/>
                <a:gd name="connsiteX3" fmla="*/ 0 w 3047999"/>
                <a:gd name="connsiteY3" fmla="*/ 715441 h 715441"/>
                <a:gd name="connsiteX4" fmla="*/ 0 w 3047999"/>
                <a:gd name="connsiteY4" fmla="*/ 0 h 715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99" h="715441">
                  <a:moveTo>
                    <a:pt x="0" y="0"/>
                  </a:moveTo>
                  <a:lnTo>
                    <a:pt x="3047999" y="0"/>
                  </a:lnTo>
                  <a:lnTo>
                    <a:pt x="3047999" y="715441"/>
                  </a:lnTo>
                  <a:lnTo>
                    <a:pt x="0" y="715441"/>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8016" tIns="22860" rIns="128016" bIns="22860" numCol="1" spcCol="1270" anchor="ctr" anchorCtr="0">
              <a:noAutofit/>
            </a:bodyPr>
            <a:lstStyle/>
            <a:p>
              <a:pPr lvl="0" algn="ctr" defTabSz="800100">
                <a:lnSpc>
                  <a:spcPct val="90000"/>
                </a:lnSpc>
                <a:spcBef>
                  <a:spcPct val="0"/>
                </a:spcBef>
                <a:spcAft>
                  <a:spcPct val="35000"/>
                </a:spcAft>
              </a:pPr>
              <a:r>
                <a:rPr lang="en-US" sz="1600" kern="1200" dirty="0" smtClean="0"/>
                <a:t>Systems targeting common (simple) processes</a:t>
              </a:r>
              <a:endParaRPr lang="en-US" sz="1600" kern="1200" dirty="0"/>
            </a:p>
          </p:txBody>
        </p:sp>
      </p:grpSp>
      <p:sp>
        <p:nvSpPr>
          <p:cNvPr id="17" name="Rectangle 16"/>
          <p:cNvSpPr/>
          <p:nvPr/>
        </p:nvSpPr>
        <p:spPr>
          <a:xfrm>
            <a:off x="3900053" y="3188935"/>
            <a:ext cx="1343894" cy="480131"/>
          </a:xfrm>
          <a:prstGeom prst="rect">
            <a:avLst/>
          </a:prstGeom>
        </p:spPr>
        <p:txBody>
          <a:bodyPr wrap="none">
            <a:spAutoFit/>
          </a:bodyPr>
          <a:lstStyle/>
          <a:p>
            <a:pPr lvl="0" algn="ctr" defTabSz="1333500">
              <a:lnSpc>
                <a:spcPct val="90000"/>
              </a:lnSpc>
              <a:spcBef>
                <a:spcPct val="0"/>
              </a:spcBef>
              <a:spcAft>
                <a:spcPct val="35000"/>
              </a:spcAft>
            </a:pPr>
            <a:r>
              <a:rPr lang="en-US" dirty="0" smtClean="0">
                <a:solidFill>
                  <a:schemeClr val="bg1"/>
                </a:solidFill>
              </a:rPr>
              <a:t>“To Be”</a:t>
            </a:r>
            <a:endParaRPr lang="en-US" dirty="0">
              <a:solidFill>
                <a:schemeClr val="bg1"/>
              </a:solidFill>
            </a:endParaRPr>
          </a:p>
        </p:txBody>
      </p:sp>
    </p:spTree>
  </p:cSld>
  <p:clrMapOvr>
    <a:masterClrMapping/>
  </p:clrMapOvr>
  <p:transition>
    <p:wipe dir="d"/>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4770" name="Rectangle 2"/>
          <p:cNvSpPr>
            <a:spLocks noGrp="1" noChangeArrowheads="1"/>
          </p:cNvSpPr>
          <p:nvPr>
            <p:ph type="title"/>
          </p:nvPr>
        </p:nvSpPr>
        <p:spPr/>
        <p:txBody>
          <a:bodyPr/>
          <a:lstStyle/>
          <a:p>
            <a:r>
              <a:rPr lang="en-US" dirty="0" smtClean="0"/>
              <a:t>The World as we have known it</a:t>
            </a:r>
            <a:endParaRPr lang="en-US" dirty="0"/>
          </a:p>
        </p:txBody>
      </p:sp>
      <p:sp>
        <p:nvSpPr>
          <p:cNvPr id="17" name="Rectangle 16"/>
          <p:cNvSpPr/>
          <p:nvPr/>
        </p:nvSpPr>
        <p:spPr>
          <a:xfrm>
            <a:off x="3900053" y="3188935"/>
            <a:ext cx="1343894" cy="480131"/>
          </a:xfrm>
          <a:prstGeom prst="rect">
            <a:avLst/>
          </a:prstGeom>
        </p:spPr>
        <p:txBody>
          <a:bodyPr wrap="none">
            <a:spAutoFit/>
          </a:bodyPr>
          <a:lstStyle/>
          <a:p>
            <a:pPr lvl="0" algn="ctr" defTabSz="1333500">
              <a:lnSpc>
                <a:spcPct val="90000"/>
              </a:lnSpc>
              <a:spcBef>
                <a:spcPct val="0"/>
              </a:spcBef>
              <a:spcAft>
                <a:spcPct val="35000"/>
              </a:spcAft>
            </a:pPr>
            <a:r>
              <a:rPr lang="en-US" dirty="0" smtClean="0">
                <a:solidFill>
                  <a:schemeClr val="bg1"/>
                </a:solidFill>
              </a:rPr>
              <a:t>“To Be”</a:t>
            </a:r>
            <a:endParaRPr lang="en-US" dirty="0">
              <a:solidFill>
                <a:schemeClr val="bg1"/>
              </a:solidFill>
            </a:endParaRPr>
          </a:p>
        </p:txBody>
      </p:sp>
      <p:pic>
        <p:nvPicPr>
          <p:cNvPr id="582659" name="Picture 3"/>
          <p:cNvPicPr>
            <a:picLocks noChangeAspect="1" noChangeArrowheads="1"/>
          </p:cNvPicPr>
          <p:nvPr/>
        </p:nvPicPr>
        <p:blipFill>
          <a:blip r:embed="rId3" cstate="print"/>
          <a:srcRect/>
          <a:stretch>
            <a:fillRect/>
          </a:stretch>
        </p:blipFill>
        <p:spPr bwMode="auto">
          <a:xfrm>
            <a:off x="413838" y="1078710"/>
            <a:ext cx="8248900" cy="4955378"/>
          </a:xfrm>
          <a:prstGeom prst="rect">
            <a:avLst/>
          </a:prstGeom>
          <a:noFill/>
          <a:ln w="9525">
            <a:noFill/>
            <a:miter lim="800000"/>
            <a:headEnd/>
            <a:tailEnd/>
          </a:ln>
          <a:effectLst/>
        </p:spPr>
      </p:pic>
    </p:spTree>
  </p:cSld>
  <p:clrMapOvr>
    <a:masterClrMapping/>
  </p:clrMapOvr>
  <p:transition>
    <p:wipe dir="d"/>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sz="quarter"/>
          </p:nvPr>
        </p:nvSpPr>
        <p:spPr/>
        <p:txBody>
          <a:bodyPr/>
          <a:lstStyle/>
          <a:p>
            <a:r>
              <a:rPr lang="en-US" dirty="0" smtClean="0"/>
              <a:t>What will it not do?</a:t>
            </a:r>
            <a:endParaRPr 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0" name="TextBox 209"/>
          <p:cNvSpPr txBox="1"/>
          <p:nvPr/>
        </p:nvSpPr>
        <p:spPr>
          <a:xfrm>
            <a:off x="469233" y="4006517"/>
            <a:ext cx="8181472" cy="1828799"/>
          </a:xfrm>
          <a:prstGeom prst="rect">
            <a:avLst/>
          </a:prstGeom>
          <a:solidFill>
            <a:schemeClr val="bg2"/>
          </a:solidFill>
          <a:ln>
            <a:noFill/>
          </a:ln>
        </p:spPr>
        <p:txBody>
          <a:bodyPr wrap="none" rtlCol="0">
            <a:noAutofit/>
          </a:bodyPr>
          <a:lstStyle/>
          <a:p>
            <a:r>
              <a:rPr lang="en-US" sz="1400" b="1" dirty="0" smtClean="0"/>
              <a:t>Not included:</a:t>
            </a:r>
          </a:p>
        </p:txBody>
      </p:sp>
      <p:sp>
        <p:nvSpPr>
          <p:cNvPr id="2" name="Title 1"/>
          <p:cNvSpPr>
            <a:spLocks noGrp="1"/>
          </p:cNvSpPr>
          <p:nvPr>
            <p:ph type="title"/>
          </p:nvPr>
        </p:nvSpPr>
        <p:spPr>
          <a:xfrm>
            <a:off x="537463" y="348044"/>
            <a:ext cx="8203565" cy="663574"/>
          </a:xfrm>
        </p:spPr>
        <p:txBody>
          <a:bodyPr/>
          <a:lstStyle/>
          <a:p>
            <a:r>
              <a:rPr lang="en-US" dirty="0" smtClean="0"/>
              <a:t>What will it not do?</a:t>
            </a:r>
            <a:endParaRPr lang="en-US" dirty="0"/>
          </a:p>
        </p:txBody>
      </p:sp>
      <p:pic>
        <p:nvPicPr>
          <p:cNvPr id="581635" name="Picture 3"/>
          <p:cNvPicPr>
            <a:picLocks noChangeAspect="1" noChangeArrowheads="1"/>
          </p:cNvPicPr>
          <p:nvPr/>
        </p:nvPicPr>
        <p:blipFill>
          <a:blip r:embed="rId2" cstate="print"/>
          <a:srcRect/>
          <a:stretch>
            <a:fillRect/>
          </a:stretch>
        </p:blipFill>
        <p:spPr bwMode="auto">
          <a:xfrm>
            <a:off x="2382254" y="1119742"/>
            <a:ext cx="4265034" cy="3560542"/>
          </a:xfrm>
          <a:prstGeom prst="rect">
            <a:avLst/>
          </a:prstGeom>
          <a:noFill/>
          <a:ln w="9525">
            <a:noFill/>
            <a:miter lim="800000"/>
            <a:headEnd/>
            <a:tailEnd/>
          </a:ln>
          <a:effectLst/>
        </p:spPr>
      </p:pic>
      <p:sp>
        <p:nvSpPr>
          <p:cNvPr id="203" name="Rectangle 202"/>
          <p:cNvSpPr/>
          <p:nvPr/>
        </p:nvSpPr>
        <p:spPr>
          <a:xfrm>
            <a:off x="6355055" y="4327479"/>
            <a:ext cx="733489" cy="58242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135128" rIns="135128" bIns="135128" numCol="1" spcCol="1270" anchor="ctr" anchorCtr="0">
            <a:noAutofit/>
          </a:bodyPr>
          <a:lstStyle/>
          <a:p>
            <a:pPr lvl="0" algn="l" defTabSz="844550">
              <a:lnSpc>
                <a:spcPct val="90000"/>
              </a:lnSpc>
              <a:spcBef>
                <a:spcPct val="0"/>
              </a:spcBef>
              <a:spcAft>
                <a:spcPct val="35000"/>
              </a:spcAft>
            </a:pPr>
            <a:endParaRPr lang="en-US" sz="1900" kern="1200"/>
          </a:p>
        </p:txBody>
      </p:sp>
      <p:sp>
        <p:nvSpPr>
          <p:cNvPr id="206" name="Oval 205"/>
          <p:cNvSpPr/>
          <p:nvPr/>
        </p:nvSpPr>
        <p:spPr bwMode="blackWhite">
          <a:xfrm>
            <a:off x="6422726" y="4235118"/>
            <a:ext cx="1494053" cy="1574131"/>
          </a:xfrm>
          <a:prstGeom prst="ellipse">
            <a:avLst/>
          </a:prstGeom>
          <a:noFill/>
          <a:ln w="19050" algn="ctr">
            <a:solidFill>
              <a:schemeClr val="accent1"/>
            </a:solidFill>
            <a:round/>
            <a:headEnd/>
            <a:tailEnd/>
          </a:ln>
        </p:spPr>
        <p:txBody>
          <a:bodyPr wrap="square" lIns="45720" rIns="45720" rtlCol="0" anchor="ctr"/>
          <a:lstStyle/>
          <a:p>
            <a:pPr algn="ctr">
              <a:spcBef>
                <a:spcPct val="0"/>
              </a:spcBef>
              <a:buSzTx/>
            </a:pPr>
            <a:endParaRPr lang="en-US" sz="1200" b="1" dirty="0" smtClean="0">
              <a:solidFill>
                <a:schemeClr val="tx1"/>
              </a:solidFill>
            </a:endParaRPr>
          </a:p>
          <a:p>
            <a:pPr algn="ctr">
              <a:spcBef>
                <a:spcPct val="0"/>
              </a:spcBef>
              <a:buSzTx/>
            </a:pPr>
            <a:r>
              <a:rPr lang="en-US" sz="1000" b="1" dirty="0" smtClean="0">
                <a:solidFill>
                  <a:schemeClr val="tx1"/>
                </a:solidFill>
              </a:rPr>
              <a:t>Auxiliary</a:t>
            </a:r>
          </a:p>
          <a:p>
            <a:pPr algn="ctr">
              <a:spcBef>
                <a:spcPct val="0"/>
              </a:spcBef>
              <a:buSzTx/>
            </a:pPr>
            <a:r>
              <a:rPr lang="en-US" sz="1000" dirty="0" smtClean="0"/>
              <a:t>Point-of-Sale</a:t>
            </a:r>
          </a:p>
          <a:p>
            <a:pPr algn="ctr">
              <a:spcBef>
                <a:spcPct val="0"/>
              </a:spcBef>
              <a:buSzTx/>
            </a:pPr>
            <a:r>
              <a:rPr lang="en-US" sz="1000" dirty="0" smtClean="0"/>
              <a:t>Related inventory</a:t>
            </a:r>
          </a:p>
          <a:p>
            <a:pPr algn="ctr">
              <a:spcBef>
                <a:spcPct val="0"/>
              </a:spcBef>
              <a:buSzTx/>
            </a:pPr>
            <a:r>
              <a:rPr lang="en-US" sz="1000" dirty="0" smtClean="0"/>
              <a:t>Smart card</a:t>
            </a:r>
          </a:p>
          <a:p>
            <a:pPr algn="ctr">
              <a:spcBef>
                <a:spcPct val="0"/>
              </a:spcBef>
              <a:buSzTx/>
            </a:pPr>
            <a:r>
              <a:rPr lang="en-US" sz="1000" dirty="0" smtClean="0"/>
              <a:t>E-commerce</a:t>
            </a:r>
          </a:p>
          <a:p>
            <a:pPr algn="ctr">
              <a:spcBef>
                <a:spcPct val="0"/>
              </a:spcBef>
              <a:buSzTx/>
            </a:pPr>
            <a:endParaRPr lang="en-US" sz="1200" dirty="0" smtClean="0">
              <a:solidFill>
                <a:schemeClr val="tx1"/>
              </a:solidFill>
            </a:endParaRPr>
          </a:p>
          <a:p>
            <a:pPr algn="ctr">
              <a:spcBef>
                <a:spcPct val="0"/>
              </a:spcBef>
              <a:buSzTx/>
            </a:pPr>
            <a:endParaRPr lang="en-US" sz="1200" dirty="0" smtClean="0">
              <a:solidFill>
                <a:schemeClr val="tx1"/>
              </a:solidFill>
            </a:endParaRPr>
          </a:p>
        </p:txBody>
      </p:sp>
      <p:sp>
        <p:nvSpPr>
          <p:cNvPr id="207" name="Oval 206"/>
          <p:cNvSpPr/>
          <p:nvPr/>
        </p:nvSpPr>
        <p:spPr bwMode="blackWhite">
          <a:xfrm>
            <a:off x="3092115" y="4211053"/>
            <a:ext cx="1515978" cy="1564106"/>
          </a:xfrm>
          <a:prstGeom prst="ellipse">
            <a:avLst/>
          </a:prstGeom>
          <a:noFill/>
          <a:ln w="19050" algn="ctr">
            <a:solidFill>
              <a:schemeClr val="accent1"/>
            </a:solidFill>
            <a:round/>
            <a:headEnd/>
            <a:tailEnd/>
          </a:ln>
        </p:spPr>
        <p:txBody>
          <a:bodyPr wrap="square" lIns="45720" rIns="45720" rtlCol="0" anchor="ctr"/>
          <a:lstStyle/>
          <a:p>
            <a:pPr algn="ctr">
              <a:spcBef>
                <a:spcPct val="0"/>
              </a:spcBef>
              <a:buSzTx/>
            </a:pPr>
            <a:r>
              <a:rPr lang="en-US" sz="1000" b="1" dirty="0" smtClean="0">
                <a:solidFill>
                  <a:schemeClr val="tx1"/>
                </a:solidFill>
              </a:rPr>
              <a:t>Library</a:t>
            </a:r>
          </a:p>
          <a:p>
            <a:pPr algn="ctr">
              <a:spcBef>
                <a:spcPct val="0"/>
              </a:spcBef>
              <a:buSzTx/>
            </a:pPr>
            <a:r>
              <a:rPr lang="en-US" sz="1000" dirty="0" smtClean="0"/>
              <a:t>Library Info Systems</a:t>
            </a:r>
          </a:p>
          <a:p>
            <a:pPr algn="ctr">
              <a:spcBef>
                <a:spcPct val="0"/>
              </a:spcBef>
              <a:buSzTx/>
            </a:pPr>
            <a:r>
              <a:rPr lang="en-US" sz="1000" dirty="0" smtClean="0">
                <a:solidFill>
                  <a:schemeClr val="tx1"/>
                </a:solidFill>
              </a:rPr>
              <a:t>Content Databases</a:t>
            </a:r>
          </a:p>
          <a:p>
            <a:pPr algn="ctr">
              <a:spcBef>
                <a:spcPct val="0"/>
              </a:spcBef>
              <a:buSzTx/>
            </a:pPr>
            <a:r>
              <a:rPr lang="en-US" sz="1000" dirty="0" smtClean="0"/>
              <a:t>Virtual Libraries</a:t>
            </a:r>
            <a:endParaRPr lang="en-US" sz="1000" dirty="0" smtClean="0">
              <a:solidFill>
                <a:schemeClr val="tx1"/>
              </a:solidFill>
            </a:endParaRPr>
          </a:p>
          <a:p>
            <a:pPr algn="ctr">
              <a:spcBef>
                <a:spcPct val="0"/>
              </a:spcBef>
              <a:buSzTx/>
            </a:pPr>
            <a:endParaRPr lang="en-US" sz="1200" dirty="0" smtClean="0">
              <a:solidFill>
                <a:schemeClr val="tx1"/>
              </a:solidFill>
            </a:endParaRPr>
          </a:p>
        </p:txBody>
      </p:sp>
      <p:sp>
        <p:nvSpPr>
          <p:cNvPr id="208" name="Oval 207"/>
          <p:cNvSpPr/>
          <p:nvPr/>
        </p:nvSpPr>
        <p:spPr bwMode="blackWhite">
          <a:xfrm>
            <a:off x="4772410" y="4235117"/>
            <a:ext cx="1544168" cy="1560764"/>
          </a:xfrm>
          <a:prstGeom prst="ellipse">
            <a:avLst/>
          </a:prstGeom>
          <a:noFill/>
          <a:ln w="19050" algn="ctr">
            <a:solidFill>
              <a:schemeClr val="accent1"/>
            </a:solidFill>
            <a:round/>
            <a:headEnd/>
            <a:tailEnd/>
          </a:ln>
        </p:spPr>
        <p:txBody>
          <a:bodyPr wrap="square" lIns="45720" rIns="45720" rtlCol="0" anchor="ctr"/>
          <a:lstStyle/>
          <a:p>
            <a:pPr algn="ctr">
              <a:spcBef>
                <a:spcPct val="0"/>
              </a:spcBef>
              <a:buSzTx/>
            </a:pPr>
            <a:endParaRPr lang="en-US" sz="1000" b="1" dirty="0" smtClean="0">
              <a:solidFill>
                <a:schemeClr val="tx1"/>
              </a:solidFill>
            </a:endParaRPr>
          </a:p>
          <a:p>
            <a:pPr algn="ctr">
              <a:spcBef>
                <a:spcPct val="0"/>
              </a:spcBef>
              <a:buSzTx/>
            </a:pPr>
            <a:endParaRPr lang="en-US" sz="1000" b="1" dirty="0" smtClean="0"/>
          </a:p>
          <a:p>
            <a:pPr algn="ctr">
              <a:spcBef>
                <a:spcPct val="0"/>
              </a:spcBef>
              <a:buSzTx/>
            </a:pPr>
            <a:r>
              <a:rPr lang="en-US" sz="1000" b="1" dirty="0" smtClean="0">
                <a:solidFill>
                  <a:schemeClr val="tx1"/>
                </a:solidFill>
              </a:rPr>
              <a:t>Instruction</a:t>
            </a:r>
          </a:p>
          <a:p>
            <a:pPr algn="ctr">
              <a:spcBef>
                <a:spcPct val="0"/>
              </a:spcBef>
              <a:buSzTx/>
            </a:pPr>
            <a:r>
              <a:rPr lang="en-US" sz="1000" dirty="0" smtClean="0">
                <a:solidFill>
                  <a:schemeClr val="tx1"/>
                </a:solidFill>
              </a:rPr>
              <a:t>Content </a:t>
            </a:r>
            <a:r>
              <a:rPr lang="en-US" sz="1000" dirty="0" err="1" smtClean="0">
                <a:solidFill>
                  <a:schemeClr val="tx1"/>
                </a:solidFill>
              </a:rPr>
              <a:t>Dev’t</a:t>
            </a:r>
            <a:endParaRPr lang="en-US" sz="1000" dirty="0" smtClean="0">
              <a:solidFill>
                <a:schemeClr val="tx1"/>
              </a:solidFill>
            </a:endParaRPr>
          </a:p>
          <a:p>
            <a:pPr algn="ctr">
              <a:spcBef>
                <a:spcPct val="0"/>
              </a:spcBef>
              <a:buSzTx/>
            </a:pPr>
            <a:r>
              <a:rPr lang="en-US" sz="1000" dirty="0" smtClean="0"/>
              <a:t>Distributed Learning</a:t>
            </a:r>
          </a:p>
          <a:p>
            <a:pPr algn="ctr">
              <a:spcBef>
                <a:spcPct val="0"/>
              </a:spcBef>
              <a:buSzTx/>
            </a:pPr>
            <a:r>
              <a:rPr lang="en-US" sz="1000" dirty="0" smtClean="0"/>
              <a:t>Academic Support</a:t>
            </a:r>
          </a:p>
          <a:p>
            <a:pPr algn="ctr">
              <a:spcBef>
                <a:spcPct val="0"/>
              </a:spcBef>
              <a:buSzTx/>
            </a:pPr>
            <a:r>
              <a:rPr lang="en-US" sz="1000" dirty="0" smtClean="0"/>
              <a:t>Instructional Management</a:t>
            </a:r>
          </a:p>
          <a:p>
            <a:pPr algn="ctr">
              <a:spcBef>
                <a:spcPct val="0"/>
              </a:spcBef>
              <a:buSzTx/>
            </a:pPr>
            <a:endParaRPr lang="en-US" sz="1200" dirty="0" smtClean="0">
              <a:solidFill>
                <a:schemeClr val="tx1"/>
              </a:solidFill>
            </a:endParaRPr>
          </a:p>
          <a:p>
            <a:pPr algn="ctr">
              <a:spcBef>
                <a:spcPct val="0"/>
              </a:spcBef>
              <a:buSzTx/>
            </a:pPr>
            <a:endParaRPr lang="en-US" sz="1200" dirty="0" smtClean="0">
              <a:solidFill>
                <a:schemeClr val="tx1"/>
              </a:solidFill>
            </a:endParaRPr>
          </a:p>
        </p:txBody>
      </p:sp>
      <p:sp>
        <p:nvSpPr>
          <p:cNvPr id="209" name="Oval 208"/>
          <p:cNvSpPr/>
          <p:nvPr/>
        </p:nvSpPr>
        <p:spPr bwMode="blackWhite">
          <a:xfrm>
            <a:off x="1391156" y="4207044"/>
            <a:ext cx="1528507" cy="1564106"/>
          </a:xfrm>
          <a:prstGeom prst="ellipse">
            <a:avLst/>
          </a:prstGeom>
          <a:noFill/>
          <a:ln w="19050" algn="ctr">
            <a:solidFill>
              <a:schemeClr val="accent1"/>
            </a:solidFill>
            <a:round/>
            <a:headEnd/>
            <a:tailEnd/>
          </a:ln>
        </p:spPr>
        <p:txBody>
          <a:bodyPr wrap="square" lIns="45720" rIns="45720" rtlCol="0" anchor="ctr"/>
          <a:lstStyle/>
          <a:p>
            <a:pPr algn="ctr">
              <a:spcBef>
                <a:spcPct val="0"/>
              </a:spcBef>
              <a:buSzTx/>
            </a:pPr>
            <a:r>
              <a:rPr lang="en-US" sz="1000" b="1" dirty="0" smtClean="0">
                <a:solidFill>
                  <a:schemeClr val="tx1"/>
                </a:solidFill>
              </a:rPr>
              <a:t>Research</a:t>
            </a:r>
          </a:p>
          <a:p>
            <a:pPr algn="ctr">
              <a:spcBef>
                <a:spcPct val="0"/>
              </a:spcBef>
              <a:buSzTx/>
            </a:pPr>
            <a:r>
              <a:rPr lang="en-US" sz="1000" dirty="0" smtClean="0"/>
              <a:t>Data Analysis Software</a:t>
            </a:r>
          </a:p>
          <a:p>
            <a:pPr algn="ctr">
              <a:spcBef>
                <a:spcPct val="0"/>
              </a:spcBef>
              <a:buSzTx/>
            </a:pPr>
            <a:r>
              <a:rPr lang="en-US" sz="1000" dirty="0" smtClean="0">
                <a:solidFill>
                  <a:schemeClr val="tx1"/>
                </a:solidFill>
              </a:rPr>
              <a:t>Development Tools</a:t>
            </a:r>
          </a:p>
          <a:p>
            <a:pPr algn="ctr">
              <a:spcBef>
                <a:spcPct val="0"/>
              </a:spcBef>
              <a:buSzTx/>
            </a:pPr>
            <a:r>
              <a:rPr lang="en-US" sz="1000" dirty="0" smtClean="0"/>
              <a:t>Investigator Grants</a:t>
            </a:r>
          </a:p>
          <a:p>
            <a:pPr algn="ctr">
              <a:spcBef>
                <a:spcPct val="0"/>
              </a:spcBef>
              <a:buSzTx/>
            </a:pPr>
            <a:r>
              <a:rPr lang="en-US" sz="1000" dirty="0" smtClean="0">
                <a:solidFill>
                  <a:schemeClr val="tx1"/>
                </a:solidFill>
              </a:rPr>
              <a:t>Admin</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ICTUREPATH" val="..\BMP\BACKGROUND\NEW\REVISED"/>
  <p:tag name="THINKCELLUNDODONOTDELETE" val="1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HLt_YQT2EShNnXzV9JDc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28gyrsaPb02SxpwvNGgZ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5BrAi5aPUGXPIPJa1sBC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W0Mr_Kt0U6zCclHVCbik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s304NUjjkqei3UQsgCi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H3WkEeoP0Cn_zoxb0Gu7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09YMBGluEibDHQ6IBBx8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5BrAi5aPUGXPIPJa1sB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74u1dTyCUaVkctiTquX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HLt_YQT2EShNnXzV9JDc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8gyrsaPb02SxpwvNGgZ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BNKfw2oMU2Q.4_crPH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482Vi2PVUqGEC_KFxMbKA"/>
</p:tagLst>
</file>

<file path=ppt/theme/theme1.xml><?xml version="1.0" encoding="utf-8"?>
<a:theme xmlns:a="http://schemas.openxmlformats.org/drawingml/2006/main" name="blank">
  <a:themeElements>
    <a:clrScheme name="Gartner">
      <a:dk1>
        <a:srgbClr val="000000"/>
      </a:dk1>
      <a:lt1>
        <a:srgbClr val="FFFFFF"/>
      </a:lt1>
      <a:dk2>
        <a:srgbClr val="00529B"/>
      </a:dk2>
      <a:lt2>
        <a:srgbClr val="EAEAEA"/>
      </a:lt2>
      <a:accent1>
        <a:srgbClr val="00529B"/>
      </a:accent1>
      <a:accent2>
        <a:srgbClr val="6E96D5"/>
      </a:accent2>
      <a:accent3>
        <a:srgbClr val="5B97B1"/>
      </a:accent3>
      <a:accent4>
        <a:srgbClr val="85B0C6"/>
      </a:accent4>
      <a:accent5>
        <a:srgbClr val="B9D0DC"/>
      </a:accent5>
      <a:accent6>
        <a:srgbClr val="99CC00"/>
      </a:accent6>
      <a:hlink>
        <a:srgbClr val="336600"/>
      </a:hlink>
      <a:folHlink>
        <a:srgbClr val="66006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blackWhite">
        <a:noFill/>
        <a:ln w="19050" algn="ctr">
          <a:solidFill>
            <a:schemeClr val="accent1"/>
          </a:solidFill>
          <a:round/>
          <a:headEnd/>
          <a:tailEnd/>
        </a:ln>
      </a:spPr>
      <a:bodyPr wrap="square" lIns="45720" rIns="45720" rtlCol="0" anchor="ctr"/>
      <a:lstStyle>
        <a:defPPr algn="ctr">
          <a:spcBef>
            <a:spcPct val="0"/>
          </a:spcBef>
          <a:buSzTx/>
          <a:defRPr sz="1200" dirty="0" err="1" smtClean="0">
            <a:solidFill>
              <a:schemeClr val="tx1"/>
            </a:solidFill>
          </a:defRPr>
        </a:defPPr>
      </a:lstStyle>
    </a:spDef>
    <a:lnDef>
      <a:spPr bwMode="auto">
        <a:solidFill>
          <a:srgbClr val="00529B"/>
        </a:solidFill>
        <a:ln w="19050" cap="flat" cmpd="sng" algn="ctr">
          <a:solidFill>
            <a:schemeClr val="accent1"/>
          </a:solidFill>
          <a:prstDash val="solid"/>
          <a:round/>
          <a:headEnd type="none" w="med" len="med"/>
          <a:tailEnd type="triangle" w="med" len="med"/>
        </a:ln>
        <a:effectLst/>
      </a:spPr>
      <a:bodyPr/>
      <a:lstStyle/>
    </a:lnDef>
    <a:txDef>
      <a:spPr>
        <a:noFill/>
      </a:spPr>
      <a:bodyPr wrap="none" rtlCol="0">
        <a:noAutofit/>
      </a:bodyPr>
      <a:lstStyle>
        <a:defPPr>
          <a:defRPr sz="1400" dirty="0" smtClean="0"/>
        </a:defPPr>
      </a:lstStyle>
    </a:tx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13">
        <a:dk1>
          <a:srgbClr val="000000"/>
        </a:dk1>
        <a:lt1>
          <a:srgbClr val="FFFFFF"/>
        </a:lt1>
        <a:dk2>
          <a:srgbClr val="FFFFFF"/>
        </a:dk2>
        <a:lt2>
          <a:srgbClr val="808080"/>
        </a:lt2>
        <a:accent1>
          <a:srgbClr val="00529B"/>
        </a:accent1>
        <a:accent2>
          <a:srgbClr val="CCB899"/>
        </a:accent2>
        <a:accent3>
          <a:srgbClr val="FFFFFF"/>
        </a:accent3>
        <a:accent4>
          <a:srgbClr val="000000"/>
        </a:accent4>
        <a:accent5>
          <a:srgbClr val="AAB3CB"/>
        </a:accent5>
        <a:accent6>
          <a:srgbClr val="B9A68A"/>
        </a:accent6>
        <a:hlink>
          <a:srgbClr val="DAC0BA"/>
        </a:hlink>
        <a:folHlink>
          <a:srgbClr val="A4B96B"/>
        </a:folHlink>
      </a:clrScheme>
      <a:clrMap bg1="lt1" tx1="dk1" bg2="lt2" tx2="dk2" accent1="accent1" accent2="accent2" accent3="accent3" accent4="accent4" accent5="accent5" accent6="accent6" hlink="hlink" folHlink="folHlink"/>
    </a:extraClrScheme>
    <a:extraClrScheme>
      <a:clrScheme name="blank 14">
        <a:dk1>
          <a:srgbClr val="000000"/>
        </a:dk1>
        <a:lt1>
          <a:srgbClr val="FFFFFF"/>
        </a:lt1>
        <a:dk2>
          <a:srgbClr val="FFFFFF"/>
        </a:dk2>
        <a:lt2>
          <a:srgbClr val="808080"/>
        </a:lt2>
        <a:accent1>
          <a:srgbClr val="00529B"/>
        </a:accent1>
        <a:accent2>
          <a:srgbClr val="E2A63A"/>
        </a:accent2>
        <a:accent3>
          <a:srgbClr val="FFFFFF"/>
        </a:accent3>
        <a:accent4>
          <a:srgbClr val="000000"/>
        </a:accent4>
        <a:accent5>
          <a:srgbClr val="AAB3CB"/>
        </a:accent5>
        <a:accent6>
          <a:srgbClr val="CD9634"/>
        </a:accent6>
        <a:hlink>
          <a:srgbClr val="B52525"/>
        </a:hlink>
        <a:folHlink>
          <a:srgbClr val="CCEF75"/>
        </a:folHlink>
      </a:clrScheme>
      <a:clrMap bg1="lt1" tx1="dk1" bg2="lt2" tx2="dk2" accent1="accent1" accent2="accent2" accent3="accent3" accent4="accent4" accent5="accent5" accent6="accent6" hlink="hlink" folHlink="folHlink"/>
    </a:extraClrScheme>
    <a:extraClrScheme>
      <a:clrScheme name="blank 15">
        <a:dk1>
          <a:srgbClr val="000000"/>
        </a:dk1>
        <a:lt1>
          <a:srgbClr val="FFFFFF"/>
        </a:lt1>
        <a:dk2>
          <a:srgbClr val="FFFFFF"/>
        </a:dk2>
        <a:lt2>
          <a:srgbClr val="715977"/>
        </a:lt2>
        <a:accent1>
          <a:srgbClr val="00529B"/>
        </a:accent1>
        <a:accent2>
          <a:srgbClr val="E2A63A"/>
        </a:accent2>
        <a:accent3>
          <a:srgbClr val="FFFFFF"/>
        </a:accent3>
        <a:accent4>
          <a:srgbClr val="000000"/>
        </a:accent4>
        <a:accent5>
          <a:srgbClr val="AAB3CB"/>
        </a:accent5>
        <a:accent6>
          <a:srgbClr val="CD9634"/>
        </a:accent6>
        <a:hlink>
          <a:srgbClr val="B52525"/>
        </a:hlink>
        <a:folHlink>
          <a:srgbClr val="CCEF75"/>
        </a:folHlink>
      </a:clrScheme>
      <a:clrMap bg1="lt1" tx1="dk1" bg2="lt2" tx2="dk2" accent1="accent1" accent2="accent2" accent3="accent3" accent4="accent4" accent5="accent5" accent6="accent6" hlink="hlink" folHlink="folHlink"/>
    </a:extraClrScheme>
    <a:extraClrScheme>
      <a:clrScheme name="blank 16">
        <a:dk1>
          <a:srgbClr val="000000"/>
        </a:dk1>
        <a:lt1>
          <a:srgbClr val="FFFFFF"/>
        </a:lt1>
        <a:dk2>
          <a:srgbClr val="000000"/>
        </a:dk2>
        <a:lt2>
          <a:srgbClr val="715977"/>
        </a:lt2>
        <a:accent1>
          <a:srgbClr val="00529B"/>
        </a:accent1>
        <a:accent2>
          <a:srgbClr val="6E96D5"/>
        </a:accent2>
        <a:accent3>
          <a:srgbClr val="FFFFFF"/>
        </a:accent3>
        <a:accent4>
          <a:srgbClr val="000000"/>
        </a:accent4>
        <a:accent5>
          <a:srgbClr val="AAB3CB"/>
        </a:accent5>
        <a:accent6>
          <a:srgbClr val="6387C1"/>
        </a:accent6>
        <a:hlink>
          <a:srgbClr val="5B97AB"/>
        </a:hlink>
        <a:folHlink>
          <a:srgbClr val="85B0C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4459</TotalTime>
  <Words>1320</Words>
  <Application>Microsoft Office PowerPoint</Application>
  <PresentationFormat>On-screen Show (4:3)</PresentationFormat>
  <Paragraphs>219</Paragraphs>
  <Slides>20</Slides>
  <Notes>8</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20</vt:i4>
      </vt:variant>
    </vt:vector>
  </HeadingPairs>
  <TitlesOfParts>
    <vt:vector size="23" baseType="lpstr">
      <vt:lpstr>blank</vt:lpstr>
      <vt:lpstr>think-cell Slide</vt:lpstr>
      <vt:lpstr>Clip</vt:lpstr>
      <vt:lpstr>Washington State Board for Community &amp; Technical Colleges (SBCTC)</vt:lpstr>
      <vt:lpstr>Agenda</vt:lpstr>
      <vt:lpstr>What will an ERP provide?</vt:lpstr>
      <vt:lpstr> What will an ERP Provide?</vt:lpstr>
      <vt:lpstr>What will an ERP provide?</vt:lpstr>
      <vt:lpstr>The World as we have known it</vt:lpstr>
      <vt:lpstr>The World as we have known it</vt:lpstr>
      <vt:lpstr>What will it not do?</vt:lpstr>
      <vt:lpstr>What will it not do?</vt:lpstr>
      <vt:lpstr>What are the benefits we can expect?</vt:lpstr>
      <vt:lpstr>What benefits we can expect?</vt:lpstr>
      <vt:lpstr>What can colleges expect?</vt:lpstr>
      <vt:lpstr>What can colleges expect?</vt:lpstr>
      <vt:lpstr> What can colleges expect ?</vt:lpstr>
      <vt:lpstr>What can colleges expect?</vt:lpstr>
      <vt:lpstr>A Focus on the Readiness Assessment Will Ensure SBCTC Is Prepared For The People Side Of An ERP Initiative</vt:lpstr>
      <vt:lpstr>ERP Systems Overview (Examples) Implementation Approach Is Driven by Scope of Change</vt:lpstr>
      <vt:lpstr>Description of Participants</vt:lpstr>
      <vt:lpstr>What is the role of College Presidents?</vt:lpstr>
      <vt:lpstr>What is the role of the President?</vt:lpstr>
    </vt:vector>
  </TitlesOfParts>
  <Company>Gartner</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mpra Global</dc:title>
  <dc:subject>EngagementAlias</dc:subject>
  <dc:creator>cataylor</dc:creator>
  <dc:description>MM/DD/YY_initials*comments_x000d_
Template v2_050510_x000d_
Template Contact: pd@gartner.com</dc:description>
  <cp:lastModifiedBy>Ferguson,Phil</cp:lastModifiedBy>
  <cp:revision>207</cp:revision>
  <cp:lastPrinted>2006-07-05T13:19:14Z</cp:lastPrinted>
  <dcterms:created xsi:type="dcterms:W3CDTF">2010-08-10T19:37:29Z</dcterms:created>
  <dcterms:modified xsi:type="dcterms:W3CDTF">2011-04-27T00:29:34Z</dcterms:modified>
  <cp:category>Presentation</cp:category>
</cp:coreProperties>
</file>